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8" r:id="rId4"/>
    <p:sldMasterId id="2147483674" r:id="rId5"/>
    <p:sldMasterId id="2147483663" r:id="rId6"/>
    <p:sldMasterId id="2147483660" r:id="rId7"/>
    <p:sldMasterId id="2147483746" r:id="rId8"/>
  </p:sldMasterIdLst>
  <p:notesMasterIdLst>
    <p:notesMasterId r:id="rId23"/>
  </p:notesMasterIdLst>
  <p:handoutMasterIdLst>
    <p:handoutMasterId r:id="rId24"/>
  </p:handoutMasterIdLst>
  <p:sldIdLst>
    <p:sldId id="433" r:id="rId9"/>
    <p:sldId id="425" r:id="rId10"/>
    <p:sldId id="460" r:id="rId11"/>
    <p:sldId id="485" r:id="rId12"/>
    <p:sldId id="506" r:id="rId13"/>
    <p:sldId id="468" r:id="rId14"/>
    <p:sldId id="502" r:id="rId15"/>
    <p:sldId id="476" r:id="rId16"/>
    <p:sldId id="504" r:id="rId17"/>
    <p:sldId id="503" r:id="rId18"/>
    <p:sldId id="470" r:id="rId19"/>
    <p:sldId id="471" r:id="rId20"/>
    <p:sldId id="505" r:id="rId21"/>
    <p:sldId id="938" r:id="rId22"/>
  </p:sldIdLst>
  <p:sldSz cx="12192000" cy="6858000"/>
  <p:notesSz cx="6858000" cy="9144000"/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51" userDrawn="1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4178" userDrawn="1">
          <p15:clr>
            <a:srgbClr val="A4A3A4"/>
          </p15:clr>
        </p15:guide>
        <p15:guide id="4" orient="horz" pos="4088" userDrawn="1">
          <p15:clr>
            <a:srgbClr val="A4A3A4"/>
          </p15:clr>
        </p15:guide>
        <p15:guide id="5" pos="7446" userDrawn="1">
          <p15:clr>
            <a:srgbClr val="A4A3A4"/>
          </p15:clr>
        </p15:guide>
        <p15:guide id="6" pos="75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er Djamali" initials="AD" lastIdx="9" clrIdx="0">
    <p:extLst>
      <p:ext uri="{19B8F6BF-5375-455C-9EA6-DF929625EA0E}">
        <p15:presenceInfo xmlns:p15="http://schemas.microsoft.com/office/powerpoint/2012/main" userId="S::adjamali@ffemuenchen.onmicrosoft.com::0aa68c46-c019-48e6-a66c-c5a2068186f9" providerId="AD"/>
      </p:ext>
    </p:extLst>
  </p:cmAuthor>
  <p:cmAuthor id="2" name="Timo Kern" initials="TK" lastIdx="16" clrIdx="1">
    <p:extLst>
      <p:ext uri="{19B8F6BF-5375-455C-9EA6-DF929625EA0E}">
        <p15:presenceInfo xmlns:p15="http://schemas.microsoft.com/office/powerpoint/2012/main" userId="S::TKern@ffemuenchen.onmicrosoft.com::15d2a4cf-c5d2-4f5c-b758-120ba2c8c3b5" providerId="AD"/>
      </p:ext>
    </p:extLst>
  </p:cmAuthor>
  <p:cmAuthor id="3" name="Basil Bukhari" initials="BB" lastIdx="24" clrIdx="2">
    <p:extLst>
      <p:ext uri="{19B8F6BF-5375-455C-9EA6-DF929625EA0E}">
        <p15:presenceInfo xmlns:p15="http://schemas.microsoft.com/office/powerpoint/2012/main" userId="Basil Bukha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97C4"/>
    <a:srgbClr val="356CA5"/>
    <a:srgbClr val="F2F2F2"/>
    <a:srgbClr val="3D84BD"/>
    <a:srgbClr val="8AB5E1"/>
    <a:srgbClr val="812121"/>
    <a:srgbClr val="777777"/>
    <a:srgbClr val="F6BAB4"/>
    <a:srgbClr val="244B72"/>
    <a:srgbClr val="F5B0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71BA5A-19B1-4D52-86A3-6E333FB256C1}" v="261" dt="2021-09-07T07:25:17"/>
    <p1510:client id="{BEB76B78-6439-4FEC-94AA-60DE90A0914C}" v="3" dt="2021-09-07T19:30:54.9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52" autoAdjust="0"/>
    <p:restoredTop sz="88776" autoAdjust="0"/>
  </p:normalViewPr>
  <p:slideViewPr>
    <p:cSldViewPr snapToGrid="0">
      <p:cViewPr varScale="1">
        <p:scale>
          <a:sx n="59" d="100"/>
          <a:sy n="59" d="100"/>
        </p:scale>
        <p:origin x="1180" y="56"/>
      </p:cViewPr>
      <p:guideLst>
        <p:guide pos="551"/>
        <p:guide orient="horz" pos="2160"/>
        <p:guide orient="horz" pos="4178"/>
        <p:guide orient="horz" pos="4088"/>
        <p:guide pos="7446"/>
        <p:guide pos="7537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mo Kern" userId="15d2a4cf-c5d2-4f5c-b758-120ba2c8c3b5" providerId="ADAL" clId="{5C71BA5A-19B1-4D52-86A3-6E333FB256C1}"/>
    <pc:docChg chg="undo custSel addSld delSld modSld">
      <pc:chgData name="Timo Kern" userId="15d2a4cf-c5d2-4f5c-b758-120ba2c8c3b5" providerId="ADAL" clId="{5C71BA5A-19B1-4D52-86A3-6E333FB256C1}" dt="2021-09-07T16:34:18.667" v="2414" actId="729"/>
      <pc:docMkLst>
        <pc:docMk/>
      </pc:docMkLst>
      <pc:sldChg chg="del">
        <pc:chgData name="Timo Kern" userId="15d2a4cf-c5d2-4f5c-b758-120ba2c8c3b5" providerId="ADAL" clId="{5C71BA5A-19B1-4D52-86A3-6E333FB256C1}" dt="2021-09-06T14:16:05.709" v="1932" actId="47"/>
        <pc:sldMkLst>
          <pc:docMk/>
          <pc:sldMk cId="1355407245" sldId="357"/>
        </pc:sldMkLst>
      </pc:sldChg>
      <pc:sldChg chg="del">
        <pc:chgData name="Timo Kern" userId="15d2a4cf-c5d2-4f5c-b758-120ba2c8c3b5" providerId="ADAL" clId="{5C71BA5A-19B1-4D52-86A3-6E333FB256C1}" dt="2021-09-06T14:16:05.455" v="1931" actId="47"/>
        <pc:sldMkLst>
          <pc:docMk/>
          <pc:sldMk cId="2597667607" sldId="360"/>
        </pc:sldMkLst>
      </pc:sldChg>
      <pc:sldChg chg="del">
        <pc:chgData name="Timo Kern" userId="15d2a4cf-c5d2-4f5c-b758-120ba2c8c3b5" providerId="ADAL" clId="{5C71BA5A-19B1-4D52-86A3-6E333FB256C1}" dt="2021-09-06T14:16:07.435" v="1936" actId="47"/>
        <pc:sldMkLst>
          <pc:docMk/>
          <pc:sldMk cId="3010895737" sldId="366"/>
        </pc:sldMkLst>
      </pc:sldChg>
      <pc:sldChg chg="del">
        <pc:chgData name="Timo Kern" userId="15d2a4cf-c5d2-4f5c-b758-120ba2c8c3b5" providerId="ADAL" clId="{5C71BA5A-19B1-4D52-86A3-6E333FB256C1}" dt="2021-09-06T14:16:06.855" v="1935" actId="47"/>
        <pc:sldMkLst>
          <pc:docMk/>
          <pc:sldMk cId="2974084822" sldId="391"/>
        </pc:sldMkLst>
      </pc:sldChg>
      <pc:sldChg chg="del">
        <pc:chgData name="Timo Kern" userId="15d2a4cf-c5d2-4f5c-b758-120ba2c8c3b5" providerId="ADAL" clId="{5C71BA5A-19B1-4D52-86A3-6E333FB256C1}" dt="2021-09-06T14:16:06.377" v="1934" actId="47"/>
        <pc:sldMkLst>
          <pc:docMk/>
          <pc:sldMk cId="798350178" sldId="404"/>
        </pc:sldMkLst>
      </pc:sldChg>
      <pc:sldChg chg="del">
        <pc:chgData name="Timo Kern" userId="15d2a4cf-c5d2-4f5c-b758-120ba2c8c3b5" providerId="ADAL" clId="{5C71BA5A-19B1-4D52-86A3-6E333FB256C1}" dt="2021-09-06T14:16:05.881" v="1933" actId="47"/>
        <pc:sldMkLst>
          <pc:docMk/>
          <pc:sldMk cId="4251230285" sldId="420"/>
        </pc:sldMkLst>
      </pc:sldChg>
      <pc:sldChg chg="modSp mod modAnim">
        <pc:chgData name="Timo Kern" userId="15d2a4cf-c5d2-4f5c-b758-120ba2c8c3b5" providerId="ADAL" clId="{5C71BA5A-19B1-4D52-86A3-6E333FB256C1}" dt="2021-09-07T07:05:33.580" v="2263"/>
        <pc:sldMkLst>
          <pc:docMk/>
          <pc:sldMk cId="4138039335" sldId="425"/>
        </pc:sldMkLst>
        <pc:spChg chg="mod">
          <ac:chgData name="Timo Kern" userId="15d2a4cf-c5d2-4f5c-b758-120ba2c8c3b5" providerId="ADAL" clId="{5C71BA5A-19B1-4D52-86A3-6E333FB256C1}" dt="2021-09-07T06:37:29.342" v="2202" actId="20577"/>
          <ac:spMkLst>
            <pc:docMk/>
            <pc:sldMk cId="4138039335" sldId="425"/>
            <ac:spMk id="8" creationId="{00000000-0000-0000-0000-000000000000}"/>
          </ac:spMkLst>
        </pc:spChg>
      </pc:sldChg>
      <pc:sldChg chg="modSp mod modAnim">
        <pc:chgData name="Timo Kern" userId="15d2a4cf-c5d2-4f5c-b758-120ba2c8c3b5" providerId="ADAL" clId="{5C71BA5A-19B1-4D52-86A3-6E333FB256C1}" dt="2021-09-07T07:09:23.591" v="2269" actId="1036"/>
        <pc:sldMkLst>
          <pc:docMk/>
          <pc:sldMk cId="497175084" sldId="460"/>
        </pc:sldMkLst>
        <pc:spChg chg="mod">
          <ac:chgData name="Timo Kern" userId="15d2a4cf-c5d2-4f5c-b758-120ba2c8c3b5" providerId="ADAL" clId="{5C71BA5A-19B1-4D52-86A3-6E333FB256C1}" dt="2021-09-06T08:46:39.942" v="112" actId="20577"/>
          <ac:spMkLst>
            <pc:docMk/>
            <pc:sldMk cId="497175084" sldId="460"/>
            <ac:spMk id="8" creationId="{AB19A6B7-40D6-43F4-8CC5-A5E96205AA2C}"/>
          </ac:spMkLst>
        </pc:spChg>
        <pc:spChg chg="mod">
          <ac:chgData name="Timo Kern" userId="15d2a4cf-c5d2-4f5c-b758-120ba2c8c3b5" providerId="ADAL" clId="{5C71BA5A-19B1-4D52-86A3-6E333FB256C1}" dt="2021-09-06T08:46:43.294" v="120" actId="20577"/>
          <ac:spMkLst>
            <pc:docMk/>
            <pc:sldMk cId="497175084" sldId="460"/>
            <ac:spMk id="17" creationId="{1FFEB8E1-37A5-4E47-BD7A-0C0318F83EAF}"/>
          </ac:spMkLst>
        </pc:spChg>
        <pc:spChg chg="mod">
          <ac:chgData name="Timo Kern" userId="15d2a4cf-c5d2-4f5c-b758-120ba2c8c3b5" providerId="ADAL" clId="{5C71BA5A-19B1-4D52-86A3-6E333FB256C1}" dt="2021-09-07T07:09:23.591" v="2269" actId="1036"/>
          <ac:spMkLst>
            <pc:docMk/>
            <pc:sldMk cId="497175084" sldId="460"/>
            <ac:spMk id="23" creationId="{83597BCC-6057-4DE0-A158-2F65D6BCF4C9}"/>
          </ac:spMkLst>
        </pc:spChg>
        <pc:cxnChg chg="mod">
          <ac:chgData name="Timo Kern" userId="15d2a4cf-c5d2-4f5c-b758-120ba2c8c3b5" providerId="ADAL" clId="{5C71BA5A-19B1-4D52-86A3-6E333FB256C1}" dt="2021-09-07T07:09:23.591" v="2269" actId="1036"/>
          <ac:cxnSpMkLst>
            <pc:docMk/>
            <pc:sldMk cId="497175084" sldId="460"/>
            <ac:cxnSpMk id="19" creationId="{00DEEA13-1846-403D-B332-9DCDBEF8DFC5}"/>
          </ac:cxnSpMkLst>
        </pc:cxnChg>
      </pc:sldChg>
      <pc:sldChg chg="del">
        <pc:chgData name="Timo Kern" userId="15d2a4cf-c5d2-4f5c-b758-120ba2c8c3b5" providerId="ADAL" clId="{5C71BA5A-19B1-4D52-86A3-6E333FB256C1}" dt="2021-09-06T08:46:20.213" v="91" actId="47"/>
        <pc:sldMkLst>
          <pc:docMk/>
          <pc:sldMk cId="1776119999" sldId="465"/>
        </pc:sldMkLst>
      </pc:sldChg>
      <pc:sldChg chg="addSp delSp modSp mod delAnim">
        <pc:chgData name="Timo Kern" userId="15d2a4cf-c5d2-4f5c-b758-120ba2c8c3b5" providerId="ADAL" clId="{5C71BA5A-19B1-4D52-86A3-6E333FB256C1}" dt="2021-09-07T07:30:57.453" v="2396" actId="14100"/>
        <pc:sldMkLst>
          <pc:docMk/>
          <pc:sldMk cId="1389736812" sldId="468"/>
        </pc:sldMkLst>
        <pc:spChg chg="del">
          <ac:chgData name="Timo Kern" userId="15d2a4cf-c5d2-4f5c-b758-120ba2c8c3b5" providerId="ADAL" clId="{5C71BA5A-19B1-4D52-86A3-6E333FB256C1}" dt="2021-09-06T12:58:45.579" v="993" actId="478"/>
          <ac:spMkLst>
            <pc:docMk/>
            <pc:sldMk cId="1389736812" sldId="468"/>
            <ac:spMk id="4" creationId="{A064B7B9-9FE5-47F8-883E-27F9ADB25A9C}"/>
          </ac:spMkLst>
        </pc:spChg>
        <pc:spChg chg="mod">
          <ac:chgData name="Timo Kern" userId="15d2a4cf-c5d2-4f5c-b758-120ba2c8c3b5" providerId="ADAL" clId="{5C71BA5A-19B1-4D52-86A3-6E333FB256C1}" dt="2021-09-07T06:38:41.496" v="2206" actId="20577"/>
          <ac:spMkLst>
            <pc:docMk/>
            <pc:sldMk cId="1389736812" sldId="468"/>
            <ac:spMk id="7" creationId="{29C8329D-11ED-4815-9834-9DA759BF8830}"/>
          </ac:spMkLst>
        </pc:spChg>
        <pc:spChg chg="mod">
          <ac:chgData name="Timo Kern" userId="15d2a4cf-c5d2-4f5c-b758-120ba2c8c3b5" providerId="ADAL" clId="{5C71BA5A-19B1-4D52-86A3-6E333FB256C1}" dt="2021-09-07T07:30:46.606" v="2394" actId="20577"/>
          <ac:spMkLst>
            <pc:docMk/>
            <pc:sldMk cId="1389736812" sldId="468"/>
            <ac:spMk id="16" creationId="{C299EA3A-FE2D-4FBD-965D-A783AE9F8E82}"/>
          </ac:spMkLst>
        </pc:spChg>
        <pc:spChg chg="mod">
          <ac:chgData name="Timo Kern" userId="15d2a4cf-c5d2-4f5c-b758-120ba2c8c3b5" providerId="ADAL" clId="{5C71BA5A-19B1-4D52-86A3-6E333FB256C1}" dt="2021-09-07T07:29:31.318" v="2361" actId="20577"/>
          <ac:spMkLst>
            <pc:docMk/>
            <pc:sldMk cId="1389736812" sldId="468"/>
            <ac:spMk id="18" creationId="{FB096188-7947-466A-9849-1528755A74ED}"/>
          </ac:spMkLst>
        </pc:spChg>
        <pc:spChg chg="mod">
          <ac:chgData name="Timo Kern" userId="15d2a4cf-c5d2-4f5c-b758-120ba2c8c3b5" providerId="ADAL" clId="{5C71BA5A-19B1-4D52-86A3-6E333FB256C1}" dt="2021-09-07T07:29:35.089" v="2362" actId="20577"/>
          <ac:spMkLst>
            <pc:docMk/>
            <pc:sldMk cId="1389736812" sldId="468"/>
            <ac:spMk id="19" creationId="{398DA039-C006-4D3F-A5B4-DD7A06F49357}"/>
          </ac:spMkLst>
        </pc:spChg>
        <pc:spChg chg="mod">
          <ac:chgData name="Timo Kern" userId="15d2a4cf-c5d2-4f5c-b758-120ba2c8c3b5" providerId="ADAL" clId="{5C71BA5A-19B1-4D52-86A3-6E333FB256C1}" dt="2021-09-07T07:29:38.937" v="2363" actId="20577"/>
          <ac:spMkLst>
            <pc:docMk/>
            <pc:sldMk cId="1389736812" sldId="468"/>
            <ac:spMk id="20" creationId="{8E035945-A807-42FC-A1C9-D985FFA0A69B}"/>
          </ac:spMkLst>
        </pc:spChg>
        <pc:spChg chg="mod">
          <ac:chgData name="Timo Kern" userId="15d2a4cf-c5d2-4f5c-b758-120ba2c8c3b5" providerId="ADAL" clId="{5C71BA5A-19B1-4D52-86A3-6E333FB256C1}" dt="2021-09-07T07:29:42.478" v="2364" actId="20577"/>
          <ac:spMkLst>
            <pc:docMk/>
            <pc:sldMk cId="1389736812" sldId="468"/>
            <ac:spMk id="21" creationId="{E256C4B5-346F-4D22-97CD-4B7601ED1199}"/>
          </ac:spMkLst>
        </pc:spChg>
        <pc:spChg chg="add mod">
          <ac:chgData name="Timo Kern" userId="15d2a4cf-c5d2-4f5c-b758-120ba2c8c3b5" providerId="ADAL" clId="{5C71BA5A-19B1-4D52-86A3-6E333FB256C1}" dt="2021-09-07T07:30:57.453" v="2396" actId="14100"/>
          <ac:spMkLst>
            <pc:docMk/>
            <pc:sldMk cId="1389736812" sldId="468"/>
            <ac:spMk id="22" creationId="{F88EEF43-C07C-4EB2-B61A-0EEA8C52FE85}"/>
          </ac:spMkLst>
        </pc:spChg>
      </pc:sldChg>
      <pc:sldChg chg="addSp delSp modSp mod">
        <pc:chgData name="Timo Kern" userId="15d2a4cf-c5d2-4f5c-b758-120ba2c8c3b5" providerId="ADAL" clId="{5C71BA5A-19B1-4D52-86A3-6E333FB256C1}" dt="2021-09-07T07:36:59.817" v="2411" actId="20577"/>
        <pc:sldMkLst>
          <pc:docMk/>
          <pc:sldMk cId="1583289309" sldId="470"/>
        </pc:sldMkLst>
        <pc:spChg chg="add del">
          <ac:chgData name="Timo Kern" userId="15d2a4cf-c5d2-4f5c-b758-120ba2c8c3b5" providerId="ADAL" clId="{5C71BA5A-19B1-4D52-86A3-6E333FB256C1}" dt="2021-09-06T08:39:44.346" v="1" actId="478"/>
          <ac:spMkLst>
            <pc:docMk/>
            <pc:sldMk cId="1583289309" sldId="470"/>
            <ac:spMk id="4" creationId="{FCA22932-8650-40DE-BCBA-8B7CB076AA63}"/>
          </ac:spMkLst>
        </pc:spChg>
        <pc:spChg chg="mod">
          <ac:chgData name="Timo Kern" userId="15d2a4cf-c5d2-4f5c-b758-120ba2c8c3b5" providerId="ADAL" clId="{5C71BA5A-19B1-4D52-86A3-6E333FB256C1}" dt="2021-09-07T07:36:59.817" v="2411" actId="20577"/>
          <ac:spMkLst>
            <pc:docMk/>
            <pc:sldMk cId="1583289309" sldId="470"/>
            <ac:spMk id="11" creationId="{DF2041AA-A345-425D-AF05-03526FA34E9A}"/>
          </ac:spMkLst>
        </pc:spChg>
        <pc:spChg chg="mod">
          <ac:chgData name="Timo Kern" userId="15d2a4cf-c5d2-4f5c-b758-120ba2c8c3b5" providerId="ADAL" clId="{5C71BA5A-19B1-4D52-86A3-6E333FB256C1}" dt="2021-09-06T08:43:23.798" v="89" actId="1037"/>
          <ac:spMkLst>
            <pc:docMk/>
            <pc:sldMk cId="1583289309" sldId="470"/>
            <ac:spMk id="13" creationId="{0749D5AC-596D-434A-BD1D-F231AF26B424}"/>
          </ac:spMkLst>
        </pc:spChg>
        <pc:spChg chg="mod">
          <ac:chgData name="Timo Kern" userId="15d2a4cf-c5d2-4f5c-b758-120ba2c8c3b5" providerId="ADAL" clId="{5C71BA5A-19B1-4D52-86A3-6E333FB256C1}" dt="2021-09-06T08:41:12.819" v="31" actId="14100"/>
          <ac:spMkLst>
            <pc:docMk/>
            <pc:sldMk cId="1583289309" sldId="470"/>
            <ac:spMk id="19" creationId="{FB4BA684-BC62-479C-9132-EFBD31424563}"/>
          </ac:spMkLst>
        </pc:spChg>
        <pc:spChg chg="mod">
          <ac:chgData name="Timo Kern" userId="15d2a4cf-c5d2-4f5c-b758-120ba2c8c3b5" providerId="ADAL" clId="{5C71BA5A-19B1-4D52-86A3-6E333FB256C1}" dt="2021-09-06T08:40:49.118" v="23" actId="1036"/>
          <ac:spMkLst>
            <pc:docMk/>
            <pc:sldMk cId="1583289309" sldId="470"/>
            <ac:spMk id="20" creationId="{76891228-1323-4BE6-9CDE-56B70EE32F6C}"/>
          </ac:spMkLst>
        </pc:spChg>
        <pc:spChg chg="mod">
          <ac:chgData name="Timo Kern" userId="15d2a4cf-c5d2-4f5c-b758-120ba2c8c3b5" providerId="ADAL" clId="{5C71BA5A-19B1-4D52-86A3-6E333FB256C1}" dt="2021-09-06T08:40:49.118" v="23" actId="1036"/>
          <ac:spMkLst>
            <pc:docMk/>
            <pc:sldMk cId="1583289309" sldId="470"/>
            <ac:spMk id="21" creationId="{DE509D93-3A0B-48A8-A7A7-F616E4F39175}"/>
          </ac:spMkLst>
        </pc:spChg>
        <pc:spChg chg="mod">
          <ac:chgData name="Timo Kern" userId="15d2a4cf-c5d2-4f5c-b758-120ba2c8c3b5" providerId="ADAL" clId="{5C71BA5A-19B1-4D52-86A3-6E333FB256C1}" dt="2021-09-06T08:40:49.118" v="23" actId="1036"/>
          <ac:spMkLst>
            <pc:docMk/>
            <pc:sldMk cId="1583289309" sldId="470"/>
            <ac:spMk id="22" creationId="{8D5B51FF-D113-4F05-A5E1-D3D22AD8508A}"/>
          </ac:spMkLst>
        </pc:spChg>
        <pc:spChg chg="mod">
          <ac:chgData name="Timo Kern" userId="15d2a4cf-c5d2-4f5c-b758-120ba2c8c3b5" providerId="ADAL" clId="{5C71BA5A-19B1-4D52-86A3-6E333FB256C1}" dt="2021-09-06T08:40:49.118" v="23" actId="1036"/>
          <ac:spMkLst>
            <pc:docMk/>
            <pc:sldMk cId="1583289309" sldId="470"/>
            <ac:spMk id="23" creationId="{89C383C1-F0A6-4B50-B430-E598DD8913CE}"/>
          </ac:spMkLst>
        </pc:spChg>
        <pc:spChg chg="mod">
          <ac:chgData name="Timo Kern" userId="15d2a4cf-c5d2-4f5c-b758-120ba2c8c3b5" providerId="ADAL" clId="{5C71BA5A-19B1-4D52-86A3-6E333FB256C1}" dt="2021-09-06T08:40:49.118" v="23" actId="1036"/>
          <ac:spMkLst>
            <pc:docMk/>
            <pc:sldMk cId="1583289309" sldId="470"/>
            <ac:spMk id="24" creationId="{8C3C4465-0797-4DFC-9BEA-0585FD4CC577}"/>
          </ac:spMkLst>
        </pc:spChg>
        <pc:spChg chg="add mod">
          <ac:chgData name="Timo Kern" userId="15d2a4cf-c5d2-4f5c-b758-120ba2c8c3b5" providerId="ADAL" clId="{5C71BA5A-19B1-4D52-86A3-6E333FB256C1}" dt="2021-09-06T08:42:33.502" v="63" actId="20577"/>
          <ac:spMkLst>
            <pc:docMk/>
            <pc:sldMk cId="1583289309" sldId="470"/>
            <ac:spMk id="27" creationId="{918ED4B4-28D6-4B19-A976-B5C828FA1B01}"/>
          </ac:spMkLst>
        </pc:spChg>
        <pc:spChg chg="add mod">
          <ac:chgData name="Timo Kern" userId="15d2a4cf-c5d2-4f5c-b758-120ba2c8c3b5" providerId="ADAL" clId="{5C71BA5A-19B1-4D52-86A3-6E333FB256C1}" dt="2021-09-06T08:42:52.143" v="73" actId="1076"/>
          <ac:spMkLst>
            <pc:docMk/>
            <pc:sldMk cId="1583289309" sldId="470"/>
            <ac:spMk id="28" creationId="{38EBFEE4-C312-4F63-917D-A5A6891ED9A3}"/>
          </ac:spMkLst>
        </pc:spChg>
        <pc:picChg chg="mod ord">
          <ac:chgData name="Timo Kern" userId="15d2a4cf-c5d2-4f5c-b758-120ba2c8c3b5" providerId="ADAL" clId="{5C71BA5A-19B1-4D52-86A3-6E333FB256C1}" dt="2021-09-06T08:40:16.667" v="7" actId="167"/>
          <ac:picMkLst>
            <pc:docMk/>
            <pc:sldMk cId="1583289309" sldId="470"/>
            <ac:picMk id="5" creationId="{32AEAEC0-158A-4C95-AF21-2893C84D7B88}"/>
          </ac:picMkLst>
        </pc:picChg>
        <pc:picChg chg="del mod">
          <ac:chgData name="Timo Kern" userId="15d2a4cf-c5d2-4f5c-b758-120ba2c8c3b5" providerId="ADAL" clId="{5C71BA5A-19B1-4D52-86A3-6E333FB256C1}" dt="2021-09-06T08:40:22.256" v="8" actId="478"/>
          <ac:picMkLst>
            <pc:docMk/>
            <pc:sldMk cId="1583289309" sldId="470"/>
            <ac:picMk id="8" creationId="{00000000-0000-0000-0000-000000000000}"/>
          </ac:picMkLst>
        </pc:picChg>
        <pc:picChg chg="add del mod">
          <ac:chgData name="Timo Kern" userId="15d2a4cf-c5d2-4f5c-b758-120ba2c8c3b5" providerId="ADAL" clId="{5C71BA5A-19B1-4D52-86A3-6E333FB256C1}" dt="2021-09-06T12:56:33.240" v="889" actId="21"/>
          <ac:picMkLst>
            <pc:docMk/>
            <pc:sldMk cId="1583289309" sldId="470"/>
            <ac:picMk id="29" creationId="{2DF38F3B-73E6-4F8D-9C8A-33D88890B21F}"/>
          </ac:picMkLst>
        </pc:picChg>
      </pc:sldChg>
      <pc:sldChg chg="addSp delSp modSp mod modShow">
        <pc:chgData name="Timo Kern" userId="15d2a4cf-c5d2-4f5c-b758-120ba2c8c3b5" providerId="ADAL" clId="{5C71BA5A-19B1-4D52-86A3-6E333FB256C1}" dt="2021-09-07T16:34:18.667" v="2414" actId="729"/>
        <pc:sldMkLst>
          <pc:docMk/>
          <pc:sldMk cId="4275616790" sldId="471"/>
        </pc:sldMkLst>
        <pc:spChg chg="mod">
          <ac:chgData name="Timo Kern" userId="15d2a4cf-c5d2-4f5c-b758-120ba2c8c3b5" providerId="ADAL" clId="{5C71BA5A-19B1-4D52-86A3-6E333FB256C1}" dt="2021-09-07T06:56:16.817" v="2247" actId="1037"/>
          <ac:spMkLst>
            <pc:docMk/>
            <pc:sldMk cId="4275616790" sldId="471"/>
            <ac:spMk id="7" creationId="{43DFF904-55F1-4EBB-B448-AF29A62C6552}"/>
          </ac:spMkLst>
        </pc:spChg>
        <pc:spChg chg="del">
          <ac:chgData name="Timo Kern" userId="15d2a4cf-c5d2-4f5c-b758-120ba2c8c3b5" providerId="ADAL" clId="{5C71BA5A-19B1-4D52-86A3-6E333FB256C1}" dt="2021-09-06T12:58:55.834" v="994" actId="478"/>
          <ac:spMkLst>
            <pc:docMk/>
            <pc:sldMk cId="4275616790" sldId="471"/>
            <ac:spMk id="9" creationId="{00000000-0000-0000-0000-000000000000}"/>
          </ac:spMkLst>
        </pc:spChg>
        <pc:spChg chg="add mod">
          <ac:chgData name="Timo Kern" userId="15d2a4cf-c5d2-4f5c-b758-120ba2c8c3b5" providerId="ADAL" clId="{5C71BA5A-19B1-4D52-86A3-6E333FB256C1}" dt="2021-09-07T06:56:30.489" v="2261" actId="1035"/>
          <ac:spMkLst>
            <pc:docMk/>
            <pc:sldMk cId="4275616790" sldId="471"/>
            <ac:spMk id="12" creationId="{91430510-CA52-45FE-A3DD-0F45FC29EF33}"/>
          </ac:spMkLst>
        </pc:spChg>
        <pc:spChg chg="mod">
          <ac:chgData name="Timo Kern" userId="15d2a4cf-c5d2-4f5c-b758-120ba2c8c3b5" providerId="ADAL" clId="{5C71BA5A-19B1-4D52-86A3-6E333FB256C1}" dt="2021-09-06T13:00:41.921" v="1125" actId="20577"/>
          <ac:spMkLst>
            <pc:docMk/>
            <pc:sldMk cId="4275616790" sldId="471"/>
            <ac:spMk id="16" creationId="{94099105-DA8C-4347-890C-0BC51384AF3F}"/>
          </ac:spMkLst>
        </pc:spChg>
        <pc:picChg chg="add del mod ord">
          <ac:chgData name="Timo Kern" userId="15d2a4cf-c5d2-4f5c-b758-120ba2c8c3b5" providerId="ADAL" clId="{5C71BA5A-19B1-4D52-86A3-6E333FB256C1}" dt="2021-09-07T06:54:57.939" v="2209" actId="478"/>
          <ac:picMkLst>
            <pc:docMk/>
            <pc:sldMk cId="4275616790" sldId="471"/>
            <ac:picMk id="4" creationId="{7F19A391-FABF-4AD7-A2FD-C7D7AD5ABCE6}"/>
          </ac:picMkLst>
        </pc:picChg>
        <pc:picChg chg="mod ord">
          <ac:chgData name="Timo Kern" userId="15d2a4cf-c5d2-4f5c-b758-120ba2c8c3b5" providerId="ADAL" clId="{5C71BA5A-19B1-4D52-86A3-6E333FB256C1}" dt="2021-09-07T06:55:46.737" v="2217" actId="167"/>
          <ac:picMkLst>
            <pc:docMk/>
            <pc:sldMk cId="4275616790" sldId="471"/>
            <ac:picMk id="5" creationId="{56A1D7F9-4252-4026-AD13-474EDC9B761D}"/>
          </ac:picMkLst>
        </pc:picChg>
        <pc:picChg chg="del mod">
          <ac:chgData name="Timo Kern" userId="15d2a4cf-c5d2-4f5c-b758-120ba2c8c3b5" providerId="ADAL" clId="{5C71BA5A-19B1-4D52-86A3-6E333FB256C1}" dt="2021-09-06T12:57:25.728" v="895" actId="478"/>
          <ac:picMkLst>
            <pc:docMk/>
            <pc:sldMk cId="4275616790" sldId="471"/>
            <ac:picMk id="6" creationId="{00000000-0000-0000-0000-000000000000}"/>
          </ac:picMkLst>
        </pc:picChg>
        <pc:picChg chg="add del mod">
          <ac:chgData name="Timo Kern" userId="15d2a4cf-c5d2-4f5c-b758-120ba2c8c3b5" providerId="ADAL" clId="{5C71BA5A-19B1-4D52-86A3-6E333FB256C1}" dt="2021-09-07T06:55:41.936" v="2216" actId="478"/>
          <ac:picMkLst>
            <pc:docMk/>
            <pc:sldMk cId="4275616790" sldId="471"/>
            <ac:picMk id="10" creationId="{82DBE480-0513-497E-82BF-631C9FB5DBEE}"/>
          </ac:picMkLst>
        </pc:picChg>
        <pc:picChg chg="add del mod">
          <ac:chgData name="Timo Kern" userId="15d2a4cf-c5d2-4f5c-b758-120ba2c8c3b5" providerId="ADAL" clId="{5C71BA5A-19B1-4D52-86A3-6E333FB256C1}" dt="2021-09-06T12:54:25.932" v="868" actId="478"/>
          <ac:picMkLst>
            <pc:docMk/>
            <pc:sldMk cId="4275616790" sldId="471"/>
            <ac:picMk id="10" creationId="{9D1F0A18-C5E2-43A2-BD7C-355F51A2DF64}"/>
          </ac:picMkLst>
        </pc:picChg>
        <pc:picChg chg="add del mod">
          <ac:chgData name="Timo Kern" userId="15d2a4cf-c5d2-4f5c-b758-120ba2c8c3b5" providerId="ADAL" clId="{5C71BA5A-19B1-4D52-86A3-6E333FB256C1}" dt="2021-09-06T12:56:11.146" v="886" actId="478"/>
          <ac:picMkLst>
            <pc:docMk/>
            <pc:sldMk cId="4275616790" sldId="471"/>
            <ac:picMk id="11" creationId="{6EF1054B-0D1A-4E11-B4AF-50D3C39B2B0E}"/>
          </ac:picMkLst>
        </pc:picChg>
      </pc:sldChg>
      <pc:sldChg chg="modSp mod modNotesTx">
        <pc:chgData name="Timo Kern" userId="15d2a4cf-c5d2-4f5c-b758-120ba2c8c3b5" providerId="ADAL" clId="{5C71BA5A-19B1-4D52-86A3-6E333FB256C1}" dt="2021-09-07T07:17:04.776" v="2314" actId="20577"/>
        <pc:sldMkLst>
          <pc:docMk/>
          <pc:sldMk cId="2498497958" sldId="485"/>
        </pc:sldMkLst>
        <pc:spChg chg="mod">
          <ac:chgData name="Timo Kern" userId="15d2a4cf-c5d2-4f5c-b758-120ba2c8c3b5" providerId="ADAL" clId="{5C71BA5A-19B1-4D52-86A3-6E333FB256C1}" dt="2021-09-07T07:15:23.051" v="2295" actId="20577"/>
          <ac:spMkLst>
            <pc:docMk/>
            <pc:sldMk cId="2498497958" sldId="485"/>
            <ac:spMk id="64" creationId="{00000000-0000-0000-0000-000000000000}"/>
          </ac:spMkLst>
        </pc:spChg>
        <pc:picChg chg="mod">
          <ac:chgData name="Timo Kern" userId="15d2a4cf-c5d2-4f5c-b758-120ba2c8c3b5" providerId="ADAL" clId="{5C71BA5A-19B1-4D52-86A3-6E333FB256C1}" dt="2021-09-07T07:13:00.367" v="2276" actId="1076"/>
          <ac:picMkLst>
            <pc:docMk/>
            <pc:sldMk cId="2498497958" sldId="485"/>
            <ac:picMk id="4" creationId="{5C86EA45-4700-4F7E-8D4C-E8CE6F21C107}"/>
          </ac:picMkLst>
        </pc:picChg>
      </pc:sldChg>
      <pc:sldChg chg="del">
        <pc:chgData name="Timo Kern" userId="15d2a4cf-c5d2-4f5c-b758-120ba2c8c3b5" providerId="ADAL" clId="{5C71BA5A-19B1-4D52-86A3-6E333FB256C1}" dt="2021-09-06T14:15:48.973" v="1929" actId="47"/>
        <pc:sldMkLst>
          <pc:docMk/>
          <pc:sldMk cId="1531690057" sldId="497"/>
        </pc:sldMkLst>
      </pc:sldChg>
      <pc:sldChg chg="del">
        <pc:chgData name="Timo Kern" userId="15d2a4cf-c5d2-4f5c-b758-120ba2c8c3b5" providerId="ADAL" clId="{5C71BA5A-19B1-4D52-86A3-6E333FB256C1}" dt="2021-09-06T14:16:01.282" v="1930" actId="47"/>
        <pc:sldMkLst>
          <pc:docMk/>
          <pc:sldMk cId="2234495717" sldId="498"/>
        </pc:sldMkLst>
      </pc:sldChg>
      <pc:sldChg chg="addSp delSp modSp mod modShow modNotesTx">
        <pc:chgData name="Timo Kern" userId="15d2a4cf-c5d2-4f5c-b758-120ba2c8c3b5" providerId="ADAL" clId="{5C71BA5A-19B1-4D52-86A3-6E333FB256C1}" dt="2021-09-07T16:30:17.725" v="2412" actId="729"/>
        <pc:sldMkLst>
          <pc:docMk/>
          <pc:sldMk cId="1061531308" sldId="502"/>
        </pc:sldMkLst>
        <pc:spChg chg="mod">
          <ac:chgData name="Timo Kern" userId="15d2a4cf-c5d2-4f5c-b758-120ba2c8c3b5" providerId="ADAL" clId="{5C71BA5A-19B1-4D52-86A3-6E333FB256C1}" dt="2021-09-06T13:08:18.758" v="1467" actId="20577"/>
          <ac:spMkLst>
            <pc:docMk/>
            <pc:sldMk cId="1061531308" sldId="502"/>
            <ac:spMk id="7" creationId="{29C8329D-11ED-4815-9834-9DA759BF8830}"/>
          </ac:spMkLst>
        </pc:spChg>
        <pc:spChg chg="mod ord">
          <ac:chgData name="Timo Kern" userId="15d2a4cf-c5d2-4f5c-b758-120ba2c8c3b5" providerId="ADAL" clId="{5C71BA5A-19B1-4D52-86A3-6E333FB256C1}" dt="2021-09-06T13:03:38.319" v="1249" actId="1035"/>
          <ac:spMkLst>
            <pc:docMk/>
            <pc:sldMk cId="1061531308" sldId="502"/>
            <ac:spMk id="15" creationId="{3EA93273-336A-4FF7-92D0-55D327EC2425}"/>
          </ac:spMkLst>
        </pc:spChg>
        <pc:spChg chg="mod ord">
          <ac:chgData name="Timo Kern" userId="15d2a4cf-c5d2-4f5c-b758-120ba2c8c3b5" providerId="ADAL" clId="{5C71BA5A-19B1-4D52-86A3-6E333FB256C1}" dt="2021-09-06T13:06:40.302" v="1305" actId="6549"/>
          <ac:spMkLst>
            <pc:docMk/>
            <pc:sldMk cId="1061531308" sldId="502"/>
            <ac:spMk id="16" creationId="{C299EA3A-FE2D-4FBD-965D-A783AE9F8E82}"/>
          </ac:spMkLst>
        </pc:spChg>
        <pc:spChg chg="mod ord">
          <ac:chgData name="Timo Kern" userId="15d2a4cf-c5d2-4f5c-b758-120ba2c8c3b5" providerId="ADAL" clId="{5C71BA5A-19B1-4D52-86A3-6E333FB256C1}" dt="2021-09-06T13:03:07.990" v="1210" actId="1036"/>
          <ac:spMkLst>
            <pc:docMk/>
            <pc:sldMk cId="1061531308" sldId="502"/>
            <ac:spMk id="17" creationId="{D4C84993-7BEE-4060-8CC5-4EB5B0A29219}"/>
          </ac:spMkLst>
        </pc:spChg>
        <pc:spChg chg="add mod">
          <ac:chgData name="Timo Kern" userId="15d2a4cf-c5d2-4f5c-b758-120ba2c8c3b5" providerId="ADAL" clId="{5C71BA5A-19B1-4D52-86A3-6E333FB256C1}" dt="2021-09-06T13:07:52.349" v="1370" actId="1036"/>
          <ac:spMkLst>
            <pc:docMk/>
            <pc:sldMk cId="1061531308" sldId="502"/>
            <ac:spMk id="19" creationId="{2C5581E1-4EA9-4A26-8BBB-1990C6A8894D}"/>
          </ac:spMkLst>
        </pc:spChg>
        <pc:spChg chg="mod ord">
          <ac:chgData name="Timo Kern" userId="15d2a4cf-c5d2-4f5c-b758-120ba2c8c3b5" providerId="ADAL" clId="{5C71BA5A-19B1-4D52-86A3-6E333FB256C1}" dt="2021-09-06T13:06:54.770" v="1316" actId="1037"/>
          <ac:spMkLst>
            <pc:docMk/>
            <pc:sldMk cId="1061531308" sldId="502"/>
            <ac:spMk id="23" creationId="{643906E5-1922-4A60-B007-03F2F8341173}"/>
          </ac:spMkLst>
        </pc:spChg>
        <pc:spChg chg="mod ord">
          <ac:chgData name="Timo Kern" userId="15d2a4cf-c5d2-4f5c-b758-120ba2c8c3b5" providerId="ADAL" clId="{5C71BA5A-19B1-4D52-86A3-6E333FB256C1}" dt="2021-09-06T13:03:43.971" v="1257" actId="1035"/>
          <ac:spMkLst>
            <pc:docMk/>
            <pc:sldMk cId="1061531308" sldId="502"/>
            <ac:spMk id="24" creationId="{E945D5A3-8A3C-420F-B9B0-D4EC20F60729}"/>
          </ac:spMkLst>
        </pc:spChg>
        <pc:picChg chg="add mod">
          <ac:chgData name="Timo Kern" userId="15d2a4cf-c5d2-4f5c-b758-120ba2c8c3b5" providerId="ADAL" clId="{5C71BA5A-19B1-4D52-86A3-6E333FB256C1}" dt="2021-09-06T13:02:13.682" v="1131" actId="1076"/>
          <ac:picMkLst>
            <pc:docMk/>
            <pc:sldMk cId="1061531308" sldId="502"/>
            <ac:picMk id="18" creationId="{A0958E09-9BE7-4AE6-BCBF-CC10EBD477CC}"/>
          </ac:picMkLst>
        </pc:picChg>
        <pc:picChg chg="del">
          <ac:chgData name="Timo Kern" userId="15d2a4cf-c5d2-4f5c-b758-120ba2c8c3b5" providerId="ADAL" clId="{5C71BA5A-19B1-4D52-86A3-6E333FB256C1}" dt="2021-09-06T13:02:14.963" v="1132" actId="478"/>
          <ac:picMkLst>
            <pc:docMk/>
            <pc:sldMk cId="1061531308" sldId="502"/>
            <ac:picMk id="22" creationId="{D7A730F0-C1BA-4FFB-B004-34B94A94D557}"/>
          </ac:picMkLst>
        </pc:picChg>
      </pc:sldChg>
      <pc:sldChg chg="modSp mod modShow">
        <pc:chgData name="Timo Kern" userId="15d2a4cf-c5d2-4f5c-b758-120ba2c8c3b5" providerId="ADAL" clId="{5C71BA5A-19B1-4D52-86A3-6E333FB256C1}" dt="2021-09-07T16:31:42.973" v="2413" actId="729"/>
        <pc:sldMkLst>
          <pc:docMk/>
          <pc:sldMk cId="803375607" sldId="504"/>
        </pc:sldMkLst>
        <pc:spChg chg="mod">
          <ac:chgData name="Timo Kern" userId="15d2a4cf-c5d2-4f5c-b758-120ba2c8c3b5" providerId="ADAL" clId="{5C71BA5A-19B1-4D52-86A3-6E333FB256C1}" dt="2021-09-07T06:45:19.275" v="2207" actId="20577"/>
          <ac:spMkLst>
            <pc:docMk/>
            <pc:sldMk cId="803375607" sldId="504"/>
            <ac:spMk id="13" creationId="{58F15C8D-0829-4DB2-B7DC-A817307C264A}"/>
          </ac:spMkLst>
        </pc:spChg>
      </pc:sldChg>
      <pc:sldChg chg="delSp modSp mod">
        <pc:chgData name="Timo Kern" userId="15d2a4cf-c5d2-4f5c-b758-120ba2c8c3b5" providerId="ADAL" clId="{5C71BA5A-19B1-4D52-86A3-6E333FB256C1}" dt="2021-09-06T14:17:45.166" v="2199" actId="20577"/>
        <pc:sldMkLst>
          <pc:docMk/>
          <pc:sldMk cId="2566680498" sldId="505"/>
        </pc:sldMkLst>
        <pc:spChg chg="mod">
          <ac:chgData name="Timo Kern" userId="15d2a4cf-c5d2-4f5c-b758-120ba2c8c3b5" providerId="ADAL" clId="{5C71BA5A-19B1-4D52-86A3-6E333FB256C1}" dt="2021-09-06T14:17:45.166" v="2199" actId="20577"/>
          <ac:spMkLst>
            <pc:docMk/>
            <pc:sldMk cId="2566680498" sldId="505"/>
            <ac:spMk id="2" creationId="{EE41CA0E-20F2-4AEE-B7FC-FD8C6A32A0E4}"/>
          </ac:spMkLst>
        </pc:spChg>
        <pc:spChg chg="del">
          <ac:chgData name="Timo Kern" userId="15d2a4cf-c5d2-4f5c-b758-120ba2c8c3b5" providerId="ADAL" clId="{5C71BA5A-19B1-4D52-86A3-6E333FB256C1}" dt="2021-09-06T13:10:58.074" v="1560" actId="478"/>
          <ac:spMkLst>
            <pc:docMk/>
            <pc:sldMk cId="2566680498" sldId="505"/>
            <ac:spMk id="4" creationId="{101B1D88-110B-4567-BA66-D94A35B64B51}"/>
          </ac:spMkLst>
        </pc:spChg>
      </pc:sldChg>
      <pc:sldChg chg="addSp delSp modSp add mod">
        <pc:chgData name="Timo Kern" userId="15d2a4cf-c5d2-4f5c-b758-120ba2c8c3b5" providerId="ADAL" clId="{5C71BA5A-19B1-4D52-86A3-6E333FB256C1}" dt="2021-09-07T07:25:17" v="2360" actId="120"/>
        <pc:sldMkLst>
          <pc:docMk/>
          <pc:sldMk cId="3017179821" sldId="506"/>
        </pc:sldMkLst>
        <pc:spChg chg="mod">
          <ac:chgData name="Timo Kern" userId="15d2a4cf-c5d2-4f5c-b758-120ba2c8c3b5" providerId="ADAL" clId="{5C71BA5A-19B1-4D52-86A3-6E333FB256C1}" dt="2021-09-06T08:53:21.458" v="210" actId="6549"/>
          <ac:spMkLst>
            <pc:docMk/>
            <pc:sldMk cId="3017179821" sldId="506"/>
            <ac:spMk id="2" creationId="{00000000-0000-0000-0000-000000000000}"/>
          </ac:spMkLst>
        </pc:spChg>
        <pc:spChg chg="mod">
          <ac:chgData name="Timo Kern" userId="15d2a4cf-c5d2-4f5c-b758-120ba2c8c3b5" providerId="ADAL" clId="{5C71BA5A-19B1-4D52-86A3-6E333FB256C1}" dt="2021-09-06T08:47:07.918" v="126" actId="20577"/>
          <ac:spMkLst>
            <pc:docMk/>
            <pc:sldMk cId="3017179821" sldId="506"/>
            <ac:spMk id="8" creationId="{AB19A6B7-40D6-43F4-8CC5-A5E96205AA2C}"/>
          </ac:spMkLst>
        </pc:spChg>
        <pc:spChg chg="mod">
          <ac:chgData name="Timo Kern" userId="15d2a4cf-c5d2-4f5c-b758-120ba2c8c3b5" providerId="ADAL" clId="{5C71BA5A-19B1-4D52-86A3-6E333FB256C1}" dt="2021-09-06T08:47:11.317" v="134" actId="20577"/>
          <ac:spMkLst>
            <pc:docMk/>
            <pc:sldMk cId="3017179821" sldId="506"/>
            <ac:spMk id="17" creationId="{1FFEB8E1-37A5-4E47-BD7A-0C0318F83EAF}"/>
          </ac:spMkLst>
        </pc:spChg>
        <pc:spChg chg="add mod">
          <ac:chgData name="Timo Kern" userId="15d2a4cf-c5d2-4f5c-b758-120ba2c8c3b5" providerId="ADAL" clId="{5C71BA5A-19B1-4D52-86A3-6E333FB256C1}" dt="2021-09-07T07:23:37.256" v="2325" actId="20578"/>
          <ac:spMkLst>
            <pc:docMk/>
            <pc:sldMk cId="3017179821" sldId="506"/>
            <ac:spMk id="23" creationId="{1364B1AD-C36C-4316-998F-F0D0E1D5D059}"/>
          </ac:spMkLst>
        </pc:spChg>
        <pc:spChg chg="del mod">
          <ac:chgData name="Timo Kern" userId="15d2a4cf-c5d2-4f5c-b758-120ba2c8c3b5" providerId="ADAL" clId="{5C71BA5A-19B1-4D52-86A3-6E333FB256C1}" dt="2021-09-06T08:46:30.542" v="103" actId="478"/>
          <ac:spMkLst>
            <pc:docMk/>
            <pc:sldMk cId="3017179821" sldId="506"/>
            <ac:spMk id="23" creationId="{83597BCC-6057-4DE0-A158-2F65D6BCF4C9}"/>
          </ac:spMkLst>
        </pc:spChg>
        <pc:spChg chg="del">
          <ac:chgData name="Timo Kern" userId="15d2a4cf-c5d2-4f5c-b758-120ba2c8c3b5" providerId="ADAL" clId="{5C71BA5A-19B1-4D52-86A3-6E333FB256C1}" dt="2021-09-06T08:46:28.877" v="101" actId="478"/>
          <ac:spMkLst>
            <pc:docMk/>
            <pc:sldMk cId="3017179821" sldId="506"/>
            <ac:spMk id="24" creationId="{181C6291-9341-49AC-A135-F1080A7E33CA}"/>
          </ac:spMkLst>
        </pc:spChg>
        <pc:spChg chg="add mod">
          <ac:chgData name="Timo Kern" userId="15d2a4cf-c5d2-4f5c-b758-120ba2c8c3b5" providerId="ADAL" clId="{5C71BA5A-19B1-4D52-86A3-6E333FB256C1}" dt="2021-09-06T12:54:07.634" v="867" actId="14100"/>
          <ac:spMkLst>
            <pc:docMk/>
            <pc:sldMk cId="3017179821" sldId="506"/>
            <ac:spMk id="24" creationId="{214C122F-1F1C-4D2B-BB3E-5B2E765E36CD}"/>
          </ac:spMkLst>
        </pc:spChg>
        <pc:spChg chg="del">
          <ac:chgData name="Timo Kern" userId="15d2a4cf-c5d2-4f5c-b758-120ba2c8c3b5" providerId="ADAL" clId="{5C71BA5A-19B1-4D52-86A3-6E333FB256C1}" dt="2021-09-06T08:46:34.477" v="104" actId="478"/>
          <ac:spMkLst>
            <pc:docMk/>
            <pc:sldMk cId="3017179821" sldId="506"/>
            <ac:spMk id="27" creationId="{5E044892-2B55-4A8A-96E7-219E74B686F7}"/>
          </ac:spMkLst>
        </pc:spChg>
        <pc:spChg chg="del">
          <ac:chgData name="Timo Kern" userId="15d2a4cf-c5d2-4f5c-b758-120ba2c8c3b5" providerId="ADAL" clId="{5C71BA5A-19B1-4D52-86A3-6E333FB256C1}" dt="2021-09-06T08:46:25.884" v="98" actId="478"/>
          <ac:spMkLst>
            <pc:docMk/>
            <pc:sldMk cId="3017179821" sldId="506"/>
            <ac:spMk id="30" creationId="{3A48DB3C-A573-48D2-A689-01673CD3E9A7}"/>
          </ac:spMkLst>
        </pc:spChg>
        <pc:spChg chg="add mod">
          <ac:chgData name="Timo Kern" userId="15d2a4cf-c5d2-4f5c-b758-120ba2c8c3b5" providerId="ADAL" clId="{5C71BA5A-19B1-4D52-86A3-6E333FB256C1}" dt="2021-09-07T07:25:17" v="2360" actId="120"/>
          <ac:spMkLst>
            <pc:docMk/>
            <pc:sldMk cId="3017179821" sldId="506"/>
            <ac:spMk id="33" creationId="{D0D2ACAF-C2D6-486C-B350-991002D0745C}"/>
          </ac:spMkLst>
        </pc:spChg>
        <pc:spChg chg="add mod">
          <ac:chgData name="Timo Kern" userId="15d2a4cf-c5d2-4f5c-b758-120ba2c8c3b5" providerId="ADAL" clId="{5C71BA5A-19B1-4D52-86A3-6E333FB256C1}" dt="2021-09-06T12:50:23.347" v="496" actId="20577"/>
          <ac:spMkLst>
            <pc:docMk/>
            <pc:sldMk cId="3017179821" sldId="506"/>
            <ac:spMk id="34" creationId="{30F5D390-B742-4DB5-9A46-E078A98CBBC2}"/>
          </ac:spMkLst>
        </pc:spChg>
        <pc:spChg chg="del">
          <ac:chgData name="Timo Kern" userId="15d2a4cf-c5d2-4f5c-b758-120ba2c8c3b5" providerId="ADAL" clId="{5C71BA5A-19B1-4D52-86A3-6E333FB256C1}" dt="2021-09-06T08:47:05.885" v="122" actId="478"/>
          <ac:spMkLst>
            <pc:docMk/>
            <pc:sldMk cId="3017179821" sldId="506"/>
            <ac:spMk id="48" creationId="{54BA6A4A-88C0-4B99-A89E-69027A7D4694}"/>
          </ac:spMkLst>
        </pc:spChg>
        <pc:spChg chg="del">
          <ac:chgData name="Timo Kern" userId="15d2a4cf-c5d2-4f5c-b758-120ba2c8c3b5" providerId="ADAL" clId="{5C71BA5A-19B1-4D52-86A3-6E333FB256C1}" dt="2021-09-06T08:46:25.884" v="98" actId="478"/>
          <ac:spMkLst>
            <pc:docMk/>
            <pc:sldMk cId="3017179821" sldId="506"/>
            <ac:spMk id="54" creationId="{6BF31804-F743-4351-B1A5-4C2A3F43E18B}"/>
          </ac:spMkLst>
        </pc:spChg>
        <pc:grpChg chg="mod">
          <ac:chgData name="Timo Kern" userId="15d2a4cf-c5d2-4f5c-b758-120ba2c8c3b5" providerId="ADAL" clId="{5C71BA5A-19B1-4D52-86A3-6E333FB256C1}" dt="2021-09-06T12:52:49.338" v="730" actId="1035"/>
          <ac:grpSpMkLst>
            <pc:docMk/>
            <pc:sldMk cId="3017179821" sldId="506"/>
            <ac:grpSpMk id="7" creationId="{45CD5EFD-3AC2-419B-B0B9-09C08389EAAB}"/>
          </ac:grpSpMkLst>
        </pc:grpChg>
        <pc:graphicFrameChg chg="del">
          <ac:chgData name="Timo Kern" userId="15d2a4cf-c5d2-4f5c-b758-120ba2c8c3b5" providerId="ADAL" clId="{5C71BA5A-19B1-4D52-86A3-6E333FB256C1}" dt="2021-09-06T08:46:25.884" v="98" actId="478"/>
          <ac:graphicFrameMkLst>
            <pc:docMk/>
            <pc:sldMk cId="3017179821" sldId="506"/>
            <ac:graphicFrameMk id="46" creationId="{4D41B62B-7F85-4223-BB4E-87D087C783CF}"/>
          </ac:graphicFrameMkLst>
        </pc:graphicFrameChg>
        <pc:cxnChg chg="del">
          <ac:chgData name="Timo Kern" userId="15d2a4cf-c5d2-4f5c-b758-120ba2c8c3b5" providerId="ADAL" clId="{5C71BA5A-19B1-4D52-86A3-6E333FB256C1}" dt="2021-09-06T08:46:56.726" v="121" actId="478"/>
          <ac:cxnSpMkLst>
            <pc:docMk/>
            <pc:sldMk cId="3017179821" sldId="506"/>
            <ac:cxnSpMk id="19" creationId="{00DEEA13-1846-403D-B332-9DCDBEF8DFC5}"/>
          </ac:cxnSpMkLst>
        </pc:cxnChg>
        <pc:cxnChg chg="del mod">
          <ac:chgData name="Timo Kern" userId="15d2a4cf-c5d2-4f5c-b758-120ba2c8c3b5" providerId="ADAL" clId="{5C71BA5A-19B1-4D52-86A3-6E333FB256C1}" dt="2021-09-06T08:46:27.085" v="100" actId="478"/>
          <ac:cxnSpMkLst>
            <pc:docMk/>
            <pc:sldMk cId="3017179821" sldId="506"/>
            <ac:cxnSpMk id="31" creationId="{A3DDF64E-1829-4541-8F7D-DA511E37B083}"/>
          </ac:cxnSpMkLst>
        </pc:cxnChg>
        <pc:cxnChg chg="del mod">
          <ac:chgData name="Timo Kern" userId="15d2a4cf-c5d2-4f5c-b758-120ba2c8c3b5" providerId="ADAL" clId="{5C71BA5A-19B1-4D52-86A3-6E333FB256C1}" dt="2021-09-06T08:46:26.653" v="99" actId="478"/>
          <ac:cxnSpMkLst>
            <pc:docMk/>
            <pc:sldMk cId="3017179821" sldId="506"/>
            <ac:cxnSpMk id="32" creationId="{89700827-D3E0-46A6-ACF0-70924DF53BD3}"/>
          </ac:cxnSpMkLst>
        </pc:cxnChg>
        <pc:cxnChg chg="del">
          <ac:chgData name="Timo Kern" userId="15d2a4cf-c5d2-4f5c-b758-120ba2c8c3b5" providerId="ADAL" clId="{5C71BA5A-19B1-4D52-86A3-6E333FB256C1}" dt="2021-09-06T08:46:25.884" v="98" actId="478"/>
          <ac:cxnSpMkLst>
            <pc:docMk/>
            <pc:sldMk cId="3017179821" sldId="506"/>
            <ac:cxnSpMk id="50" creationId="{4FFAEB3A-B68C-43FE-9907-E67D27AD61C7}"/>
          </ac:cxnSpMkLst>
        </pc:cxnChg>
        <pc:cxnChg chg="del">
          <ac:chgData name="Timo Kern" userId="15d2a4cf-c5d2-4f5c-b758-120ba2c8c3b5" providerId="ADAL" clId="{5C71BA5A-19B1-4D52-86A3-6E333FB256C1}" dt="2021-09-06T08:46:34.477" v="104" actId="478"/>
          <ac:cxnSpMkLst>
            <pc:docMk/>
            <pc:sldMk cId="3017179821" sldId="506"/>
            <ac:cxnSpMk id="51" creationId="{B738A917-9EDE-443E-B353-DEB2CDA781EE}"/>
          </ac:cxnSpMkLst>
        </pc:cxnChg>
      </pc:sldChg>
      <pc:sldMasterChg chg="delSldLayout">
        <pc:chgData name="Timo Kern" userId="15d2a4cf-c5d2-4f5c-b758-120ba2c8c3b5" providerId="ADAL" clId="{5C71BA5A-19B1-4D52-86A3-6E333FB256C1}" dt="2021-09-06T14:16:05.709" v="1932" actId="47"/>
        <pc:sldMasterMkLst>
          <pc:docMk/>
          <pc:sldMasterMk cId="2763450059" sldId="2147483674"/>
        </pc:sldMasterMkLst>
        <pc:sldLayoutChg chg="del">
          <pc:chgData name="Timo Kern" userId="15d2a4cf-c5d2-4f5c-b758-120ba2c8c3b5" providerId="ADAL" clId="{5C71BA5A-19B1-4D52-86A3-6E333FB256C1}" dt="2021-09-06T14:16:05.709" v="1932" actId="47"/>
          <pc:sldLayoutMkLst>
            <pc:docMk/>
            <pc:sldMasterMk cId="2763450059" sldId="2147483674"/>
            <pc:sldLayoutMk cId="2447869792" sldId="2147483740"/>
          </pc:sldLayoutMkLst>
        </pc:sldLayoutChg>
      </pc:sldMasterChg>
    </pc:docChg>
  </pc:docChgLst>
  <pc:docChgLst>
    <pc:chgData name="Timo Kern" userId="15d2a4cf-c5d2-4f5c-b758-120ba2c8c3b5" providerId="ADAL" clId="{BEB76B78-6439-4FEC-94AA-60DE90A0914C}"/>
    <pc:docChg chg="addSld delSld modSld">
      <pc:chgData name="Timo Kern" userId="15d2a4cf-c5d2-4f5c-b758-120ba2c8c3b5" providerId="ADAL" clId="{BEB76B78-6439-4FEC-94AA-60DE90A0914C}" dt="2021-09-07T19:30:57.542" v="3" actId="47"/>
      <pc:docMkLst>
        <pc:docMk/>
      </pc:docMkLst>
      <pc:sldChg chg="del">
        <pc:chgData name="Timo Kern" userId="15d2a4cf-c5d2-4f5c-b758-120ba2c8c3b5" providerId="ADAL" clId="{BEB76B78-6439-4FEC-94AA-60DE90A0914C}" dt="2021-09-07T19:30:57.542" v="3" actId="47"/>
        <pc:sldMkLst>
          <pc:docMk/>
          <pc:sldMk cId="2634588679" sldId="397"/>
        </pc:sldMkLst>
      </pc:sldChg>
      <pc:sldChg chg="add del">
        <pc:chgData name="Timo Kern" userId="15d2a4cf-c5d2-4f5c-b758-120ba2c8c3b5" providerId="ADAL" clId="{BEB76B78-6439-4FEC-94AA-60DE90A0914C}" dt="2021-09-07T19:30:54.977" v="2"/>
        <pc:sldMkLst>
          <pc:docMk/>
          <pc:sldMk cId="3853232022" sldId="938"/>
        </pc:sldMkLst>
      </pc:sldChg>
    </pc:docChg>
  </pc:docChgLst>
  <pc:docChgLst>
    <pc:chgData name="Basil Bukhari" userId="S::bbukhari@ffemuenchen.onmicrosoft.com::c99bbbca-5a85-4d8f-95c0-d5d892a8c0b5" providerId="AD" clId="Web-{64757E88-190B-4CC2-9062-AE29D7789C8B}"/>
    <pc:docChg chg="modSld">
      <pc:chgData name="Basil Bukhari" userId="S::bbukhari@ffemuenchen.onmicrosoft.com::c99bbbca-5a85-4d8f-95c0-d5d892a8c0b5" providerId="AD" clId="Web-{64757E88-190B-4CC2-9062-AE29D7789C8B}" dt="2021-08-03T21:07:04.776" v="18" actId="20577"/>
      <pc:docMkLst>
        <pc:docMk/>
      </pc:docMkLst>
      <pc:sldChg chg="modSp">
        <pc:chgData name="Basil Bukhari" userId="S::bbukhari@ffemuenchen.onmicrosoft.com::c99bbbca-5a85-4d8f-95c0-d5d892a8c0b5" providerId="AD" clId="Web-{64757E88-190B-4CC2-9062-AE29D7789C8B}" dt="2021-08-03T21:07:04.776" v="18" actId="20577"/>
        <pc:sldMkLst>
          <pc:docMk/>
          <pc:sldMk cId="965965224" sldId="433"/>
        </pc:sldMkLst>
        <pc:spChg chg="mod">
          <ac:chgData name="Basil Bukhari" userId="S::bbukhari@ffemuenchen.onmicrosoft.com::c99bbbca-5a85-4d8f-95c0-d5d892a8c0b5" providerId="AD" clId="Web-{64757E88-190B-4CC2-9062-AE29D7789C8B}" dt="2021-08-03T21:07:04.776" v="18" actId="20577"/>
          <ac:spMkLst>
            <pc:docMk/>
            <pc:sldMk cId="965965224" sldId="433"/>
            <ac:spMk id="16" creationId="{00000000-0000-0000-0000-000000000000}"/>
          </ac:spMkLst>
        </pc:spChg>
      </pc:sldChg>
    </pc:docChg>
  </pc:docChgLst>
  <pc:docChgLst>
    <pc:chgData name="Timo Kern" userId="15d2a4cf-c5d2-4f5c-b758-120ba2c8c3b5" providerId="ADAL" clId="{8C32F8C7-D72A-4DCF-9616-202E88C17CAB}"/>
    <pc:docChg chg="undo redo custSel addSld delSld modSld sldOrd">
      <pc:chgData name="Timo Kern" userId="15d2a4cf-c5d2-4f5c-b758-120ba2c8c3b5" providerId="ADAL" clId="{8C32F8C7-D72A-4DCF-9616-202E88C17CAB}" dt="2021-09-03T08:54:14.503" v="5699" actId="552"/>
      <pc:docMkLst>
        <pc:docMk/>
      </pc:docMkLst>
      <pc:sldChg chg="del">
        <pc:chgData name="Timo Kern" userId="15d2a4cf-c5d2-4f5c-b758-120ba2c8c3b5" providerId="ADAL" clId="{8C32F8C7-D72A-4DCF-9616-202E88C17CAB}" dt="2021-09-01T11:29:36.664" v="1563" actId="47"/>
        <pc:sldMkLst>
          <pc:docMk/>
          <pc:sldMk cId="2861149781" sldId="354"/>
        </pc:sldMkLst>
      </pc:sldChg>
      <pc:sldChg chg="add del">
        <pc:chgData name="Timo Kern" userId="15d2a4cf-c5d2-4f5c-b758-120ba2c8c3b5" providerId="ADAL" clId="{8C32F8C7-D72A-4DCF-9616-202E88C17CAB}" dt="2021-09-01T11:29:40.285" v="1567" actId="47"/>
        <pc:sldMkLst>
          <pc:docMk/>
          <pc:sldMk cId="3010895737" sldId="366"/>
        </pc:sldMkLst>
      </pc:sldChg>
      <pc:sldChg chg="add del">
        <pc:chgData name="Timo Kern" userId="15d2a4cf-c5d2-4f5c-b758-120ba2c8c3b5" providerId="ADAL" clId="{8C32F8C7-D72A-4DCF-9616-202E88C17CAB}" dt="2021-09-01T11:29:40.028" v="1566" actId="47"/>
        <pc:sldMkLst>
          <pc:docMk/>
          <pc:sldMk cId="2974084822" sldId="391"/>
        </pc:sldMkLst>
      </pc:sldChg>
      <pc:sldChg chg="del">
        <pc:chgData name="Timo Kern" userId="15d2a4cf-c5d2-4f5c-b758-120ba2c8c3b5" providerId="ADAL" clId="{8C32F8C7-D72A-4DCF-9616-202E88C17CAB}" dt="2021-09-01T11:29:35.918" v="1562" actId="47"/>
        <pc:sldMkLst>
          <pc:docMk/>
          <pc:sldMk cId="4119067380" sldId="400"/>
        </pc:sldMkLst>
      </pc:sldChg>
      <pc:sldChg chg="add">
        <pc:chgData name="Timo Kern" userId="15d2a4cf-c5d2-4f5c-b758-120ba2c8c3b5" providerId="ADAL" clId="{8C32F8C7-D72A-4DCF-9616-202E88C17CAB}" dt="2021-09-03T07:42:42.120" v="5599"/>
        <pc:sldMkLst>
          <pc:docMk/>
          <pc:sldMk cId="4138039335" sldId="425"/>
        </pc:sldMkLst>
      </pc:sldChg>
      <pc:sldChg chg="modSp mod modNotesTx">
        <pc:chgData name="Timo Kern" userId="15d2a4cf-c5d2-4f5c-b758-120ba2c8c3b5" providerId="ADAL" clId="{8C32F8C7-D72A-4DCF-9616-202E88C17CAB}" dt="2021-09-03T07:42:11.809" v="5598" actId="6549"/>
        <pc:sldMkLst>
          <pc:docMk/>
          <pc:sldMk cId="965965224" sldId="433"/>
        </pc:sldMkLst>
        <pc:spChg chg="mod">
          <ac:chgData name="Timo Kern" userId="15d2a4cf-c5d2-4f5c-b758-120ba2c8c3b5" providerId="ADAL" clId="{8C32F8C7-D72A-4DCF-9616-202E88C17CAB}" dt="2021-09-03T07:41:55.462" v="5597" actId="20577"/>
          <ac:spMkLst>
            <pc:docMk/>
            <pc:sldMk cId="965965224" sldId="433"/>
            <ac:spMk id="16" creationId="{00000000-0000-0000-0000-000000000000}"/>
          </ac:spMkLst>
        </pc:spChg>
      </pc:sldChg>
      <pc:sldChg chg="del">
        <pc:chgData name="Timo Kern" userId="15d2a4cf-c5d2-4f5c-b758-120ba2c8c3b5" providerId="ADAL" clId="{8C32F8C7-D72A-4DCF-9616-202E88C17CAB}" dt="2021-09-01T11:29:33.716" v="1559" actId="47"/>
        <pc:sldMkLst>
          <pc:docMk/>
          <pc:sldMk cId="2654536246" sldId="448"/>
        </pc:sldMkLst>
      </pc:sldChg>
      <pc:sldChg chg="del">
        <pc:chgData name="Timo Kern" userId="15d2a4cf-c5d2-4f5c-b758-120ba2c8c3b5" providerId="ADAL" clId="{8C32F8C7-D72A-4DCF-9616-202E88C17CAB}" dt="2021-09-01T11:29:34.732" v="1560" actId="47"/>
        <pc:sldMkLst>
          <pc:docMk/>
          <pc:sldMk cId="1004703689" sldId="458"/>
        </pc:sldMkLst>
      </pc:sldChg>
      <pc:sldChg chg="del">
        <pc:chgData name="Timo Kern" userId="15d2a4cf-c5d2-4f5c-b758-120ba2c8c3b5" providerId="ADAL" clId="{8C32F8C7-D72A-4DCF-9616-202E88C17CAB}" dt="2021-09-01T11:29:35.078" v="1561" actId="47"/>
        <pc:sldMkLst>
          <pc:docMk/>
          <pc:sldMk cId="769608341" sldId="459"/>
        </pc:sldMkLst>
      </pc:sldChg>
      <pc:sldChg chg="addSp delSp modSp mod modClrScheme chgLayout modNotesTx">
        <pc:chgData name="Timo Kern" userId="15d2a4cf-c5d2-4f5c-b758-120ba2c8c3b5" providerId="ADAL" clId="{8C32F8C7-D72A-4DCF-9616-202E88C17CAB}" dt="2021-09-01T14:26:35.908" v="4652" actId="20577"/>
        <pc:sldMkLst>
          <pc:docMk/>
          <pc:sldMk cId="497175084" sldId="460"/>
        </pc:sldMkLst>
        <pc:spChg chg="mod ord">
          <ac:chgData name="Timo Kern" userId="15d2a4cf-c5d2-4f5c-b758-120ba2c8c3b5" providerId="ADAL" clId="{8C32F8C7-D72A-4DCF-9616-202E88C17CAB}" dt="2021-08-31T06:59:57.031" v="129" actId="700"/>
          <ac:spMkLst>
            <pc:docMk/>
            <pc:sldMk cId="497175084" sldId="460"/>
            <ac:spMk id="2" creationId="{00000000-0000-0000-0000-000000000000}"/>
          </ac:spMkLst>
        </pc:spChg>
        <pc:spChg chg="mod ord">
          <ac:chgData name="Timo Kern" userId="15d2a4cf-c5d2-4f5c-b758-120ba2c8c3b5" providerId="ADAL" clId="{8C32F8C7-D72A-4DCF-9616-202E88C17CAB}" dt="2021-08-31T06:59:57.031" v="129" actId="700"/>
          <ac:spMkLst>
            <pc:docMk/>
            <pc:sldMk cId="497175084" sldId="460"/>
            <ac:spMk id="3" creationId="{00000000-0000-0000-0000-000000000000}"/>
          </ac:spMkLst>
        </pc:spChg>
        <pc:spChg chg="add del mod ord">
          <ac:chgData name="Timo Kern" userId="15d2a4cf-c5d2-4f5c-b758-120ba2c8c3b5" providerId="ADAL" clId="{8C32F8C7-D72A-4DCF-9616-202E88C17CAB}" dt="2021-08-31T06:59:59.458" v="130" actId="478"/>
          <ac:spMkLst>
            <pc:docMk/>
            <pc:sldMk cId="497175084" sldId="460"/>
            <ac:spMk id="4" creationId="{51795F92-AF6E-4E7F-98A1-FE709CD29B8A}"/>
          </ac:spMkLst>
        </pc:spChg>
        <pc:spChg chg="mod">
          <ac:chgData name="Timo Kern" userId="15d2a4cf-c5d2-4f5c-b758-120ba2c8c3b5" providerId="ADAL" clId="{8C32F8C7-D72A-4DCF-9616-202E88C17CAB}" dt="2021-08-31T06:59:47.987" v="128" actId="1035"/>
          <ac:spMkLst>
            <pc:docMk/>
            <pc:sldMk cId="497175084" sldId="460"/>
            <ac:spMk id="8" creationId="{AB19A6B7-40D6-43F4-8CC5-A5E96205AA2C}"/>
          </ac:spMkLst>
        </pc:spChg>
        <pc:spChg chg="del">
          <ac:chgData name="Timo Kern" userId="15d2a4cf-c5d2-4f5c-b758-120ba2c8c3b5" providerId="ADAL" clId="{8C32F8C7-D72A-4DCF-9616-202E88C17CAB}" dt="2021-08-31T06:57:47.219" v="1" actId="478"/>
          <ac:spMkLst>
            <pc:docMk/>
            <pc:sldMk cId="497175084" sldId="460"/>
            <ac:spMk id="9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8-31T06:57:44.935" v="0"/>
          <ac:spMkLst>
            <pc:docMk/>
            <pc:sldMk cId="497175084" sldId="460"/>
            <ac:spMk id="11" creationId="{DA649C11-5C64-4035-A38C-3627FAD564BA}"/>
          </ac:spMkLst>
        </pc:spChg>
        <pc:spChg chg="mod">
          <ac:chgData name="Timo Kern" userId="15d2a4cf-c5d2-4f5c-b758-120ba2c8c3b5" providerId="ADAL" clId="{8C32F8C7-D72A-4DCF-9616-202E88C17CAB}" dt="2021-08-31T06:57:44.935" v="0"/>
          <ac:spMkLst>
            <pc:docMk/>
            <pc:sldMk cId="497175084" sldId="460"/>
            <ac:spMk id="12" creationId="{0041C620-247D-4296-AB9C-CD43F137D2F0}"/>
          </ac:spMkLst>
        </pc:spChg>
        <pc:spChg chg="del">
          <ac:chgData name="Timo Kern" userId="15d2a4cf-c5d2-4f5c-b758-120ba2c8c3b5" providerId="ADAL" clId="{8C32F8C7-D72A-4DCF-9616-202E88C17CAB}" dt="2021-08-31T06:57:47.758" v="2" actId="478"/>
          <ac:spMkLst>
            <pc:docMk/>
            <pc:sldMk cId="497175084" sldId="460"/>
            <ac:spMk id="13" creationId="{00000000-0000-0000-0000-000000000000}"/>
          </ac:spMkLst>
        </pc:spChg>
        <pc:spChg chg="del">
          <ac:chgData name="Timo Kern" userId="15d2a4cf-c5d2-4f5c-b758-120ba2c8c3b5" providerId="ADAL" clId="{8C32F8C7-D72A-4DCF-9616-202E88C17CAB}" dt="2021-08-31T06:57:49.182" v="3" actId="478"/>
          <ac:spMkLst>
            <pc:docMk/>
            <pc:sldMk cId="497175084" sldId="460"/>
            <ac:spMk id="14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8-31T06:59:42.343" v="115" actId="20577"/>
          <ac:spMkLst>
            <pc:docMk/>
            <pc:sldMk cId="497175084" sldId="460"/>
            <ac:spMk id="17" creationId="{1FFEB8E1-37A5-4E47-BD7A-0C0318F83EAF}"/>
          </ac:spMkLst>
        </pc:spChg>
        <pc:spChg chg="mod">
          <ac:chgData name="Timo Kern" userId="15d2a4cf-c5d2-4f5c-b758-120ba2c8c3b5" providerId="ADAL" clId="{8C32F8C7-D72A-4DCF-9616-202E88C17CAB}" dt="2021-08-31T06:57:44.935" v="0"/>
          <ac:spMkLst>
            <pc:docMk/>
            <pc:sldMk cId="497175084" sldId="460"/>
            <ac:spMk id="18" creationId="{81367C6D-16B9-4B1A-9346-BA3CE133E62C}"/>
          </ac:spMkLst>
        </pc:spChg>
        <pc:spChg chg="mod">
          <ac:chgData name="Timo Kern" userId="15d2a4cf-c5d2-4f5c-b758-120ba2c8c3b5" providerId="ADAL" clId="{8C32F8C7-D72A-4DCF-9616-202E88C17CAB}" dt="2021-08-31T06:57:44.935" v="0"/>
          <ac:spMkLst>
            <pc:docMk/>
            <pc:sldMk cId="497175084" sldId="460"/>
            <ac:spMk id="21" creationId="{BD0CBD5C-6DC4-43AE-BBE4-5E42862306A5}"/>
          </ac:spMkLst>
        </pc:spChg>
        <pc:spChg chg="mod">
          <ac:chgData name="Timo Kern" userId="15d2a4cf-c5d2-4f5c-b758-120ba2c8c3b5" providerId="ADAL" clId="{8C32F8C7-D72A-4DCF-9616-202E88C17CAB}" dt="2021-08-31T06:57:44.935" v="0"/>
          <ac:spMkLst>
            <pc:docMk/>
            <pc:sldMk cId="497175084" sldId="460"/>
            <ac:spMk id="22" creationId="{8576FEF1-4FA9-44B2-9C45-839C0C694F1A}"/>
          </ac:spMkLst>
        </pc:spChg>
        <pc:spChg chg="mod">
          <ac:chgData name="Timo Kern" userId="15d2a4cf-c5d2-4f5c-b758-120ba2c8c3b5" providerId="ADAL" clId="{8C32F8C7-D72A-4DCF-9616-202E88C17CAB}" dt="2021-09-01T11:21:17.547" v="949" actId="1037"/>
          <ac:spMkLst>
            <pc:docMk/>
            <pc:sldMk cId="497175084" sldId="460"/>
            <ac:spMk id="23" creationId="{83597BCC-6057-4DE0-A158-2F65D6BCF4C9}"/>
          </ac:spMkLst>
        </pc:spChg>
        <pc:spChg chg="mod">
          <ac:chgData name="Timo Kern" userId="15d2a4cf-c5d2-4f5c-b758-120ba2c8c3b5" providerId="ADAL" clId="{8C32F8C7-D72A-4DCF-9616-202E88C17CAB}" dt="2021-09-01T11:21:17.547" v="949" actId="1037"/>
          <ac:spMkLst>
            <pc:docMk/>
            <pc:sldMk cId="497175084" sldId="460"/>
            <ac:spMk id="24" creationId="{181C6291-9341-49AC-A135-F1080A7E33CA}"/>
          </ac:spMkLst>
        </pc:spChg>
        <pc:spChg chg="mod">
          <ac:chgData name="Timo Kern" userId="15d2a4cf-c5d2-4f5c-b758-120ba2c8c3b5" providerId="ADAL" clId="{8C32F8C7-D72A-4DCF-9616-202E88C17CAB}" dt="2021-08-31T06:57:44.935" v="0"/>
          <ac:spMkLst>
            <pc:docMk/>
            <pc:sldMk cId="497175084" sldId="460"/>
            <ac:spMk id="25" creationId="{8CD274CC-8143-4776-B3A3-11BFB52A0E20}"/>
          </ac:spMkLst>
        </pc:spChg>
        <pc:spChg chg="mod">
          <ac:chgData name="Timo Kern" userId="15d2a4cf-c5d2-4f5c-b758-120ba2c8c3b5" providerId="ADAL" clId="{8C32F8C7-D72A-4DCF-9616-202E88C17CAB}" dt="2021-08-31T06:57:44.935" v="0"/>
          <ac:spMkLst>
            <pc:docMk/>
            <pc:sldMk cId="497175084" sldId="460"/>
            <ac:spMk id="26" creationId="{36E1D54A-AEA1-490F-BD22-155CABA4258E}"/>
          </ac:spMkLst>
        </pc:spChg>
        <pc:spChg chg="add del mod">
          <ac:chgData name="Timo Kern" userId="15d2a4cf-c5d2-4f5c-b758-120ba2c8c3b5" providerId="ADAL" clId="{8C32F8C7-D72A-4DCF-9616-202E88C17CAB}" dt="2021-09-01T14:26:35.908" v="4652" actId="20577"/>
          <ac:spMkLst>
            <pc:docMk/>
            <pc:sldMk cId="497175084" sldId="460"/>
            <ac:spMk id="27" creationId="{5E044892-2B55-4A8A-96E7-219E74B686F7}"/>
          </ac:spMkLst>
        </pc:spChg>
        <pc:spChg chg="add del mod">
          <ac:chgData name="Timo Kern" userId="15d2a4cf-c5d2-4f5c-b758-120ba2c8c3b5" providerId="ADAL" clId="{8C32F8C7-D72A-4DCF-9616-202E88C17CAB}" dt="2021-08-31T09:18:37.429" v="149"/>
          <ac:spMkLst>
            <pc:docMk/>
            <pc:sldMk cId="497175084" sldId="460"/>
            <ac:spMk id="28" creationId="{5FF0FD3B-139A-4BF7-AC3F-07EF6949597F}"/>
          </ac:spMkLst>
        </pc:spChg>
        <pc:spChg chg="add del mod">
          <ac:chgData name="Timo Kern" userId="15d2a4cf-c5d2-4f5c-b758-120ba2c8c3b5" providerId="ADAL" clId="{8C32F8C7-D72A-4DCF-9616-202E88C17CAB}" dt="2021-08-31T09:18:36.710" v="147"/>
          <ac:spMkLst>
            <pc:docMk/>
            <pc:sldMk cId="497175084" sldId="460"/>
            <ac:spMk id="29" creationId="{6B05F262-9E21-45B2-8C37-76BEBC002D21}"/>
          </ac:spMkLst>
        </pc:spChg>
        <pc:spChg chg="add mod">
          <ac:chgData name="Timo Kern" userId="15d2a4cf-c5d2-4f5c-b758-120ba2c8c3b5" providerId="ADAL" clId="{8C32F8C7-D72A-4DCF-9616-202E88C17CAB}" dt="2021-09-01T11:22:19.506" v="1040" actId="20577"/>
          <ac:spMkLst>
            <pc:docMk/>
            <pc:sldMk cId="497175084" sldId="460"/>
            <ac:spMk id="30" creationId="{3A48DB3C-A573-48D2-A689-01673CD3E9A7}"/>
          </ac:spMkLst>
        </pc:spChg>
        <pc:spChg chg="add del mod">
          <ac:chgData name="Timo Kern" userId="15d2a4cf-c5d2-4f5c-b758-120ba2c8c3b5" providerId="ADAL" clId="{8C32F8C7-D72A-4DCF-9616-202E88C17CAB}" dt="2021-08-31T09:26:54.577" v="307" actId="478"/>
          <ac:spMkLst>
            <pc:docMk/>
            <pc:sldMk cId="497175084" sldId="460"/>
            <ac:spMk id="40" creationId="{D1B14501-588B-48FD-A0B2-D59D36822C73}"/>
          </ac:spMkLst>
        </pc:spChg>
        <pc:spChg chg="add mod">
          <ac:chgData name="Timo Kern" userId="15d2a4cf-c5d2-4f5c-b758-120ba2c8c3b5" providerId="ADAL" clId="{8C32F8C7-D72A-4DCF-9616-202E88C17CAB}" dt="2021-09-01T11:20:42.080" v="889" actId="20577"/>
          <ac:spMkLst>
            <pc:docMk/>
            <pc:sldMk cId="497175084" sldId="460"/>
            <ac:spMk id="48" creationId="{54BA6A4A-88C0-4B99-A89E-69027A7D4694}"/>
          </ac:spMkLst>
        </pc:spChg>
        <pc:spChg chg="add mod">
          <ac:chgData name="Timo Kern" userId="15d2a4cf-c5d2-4f5c-b758-120ba2c8c3b5" providerId="ADAL" clId="{8C32F8C7-D72A-4DCF-9616-202E88C17CAB}" dt="2021-09-01T11:22:33.913" v="1067" actId="20577"/>
          <ac:spMkLst>
            <pc:docMk/>
            <pc:sldMk cId="497175084" sldId="460"/>
            <ac:spMk id="54" creationId="{6BF31804-F743-4351-B1A5-4C2A3F43E18B}"/>
          </ac:spMkLst>
        </pc:spChg>
        <pc:grpChg chg="add mod">
          <ac:chgData name="Timo Kern" userId="15d2a4cf-c5d2-4f5c-b758-120ba2c8c3b5" providerId="ADAL" clId="{8C32F8C7-D72A-4DCF-9616-202E88C17CAB}" dt="2021-08-31T07:00:33.894" v="136" actId="1076"/>
          <ac:grpSpMkLst>
            <pc:docMk/>
            <pc:sldMk cId="497175084" sldId="460"/>
            <ac:grpSpMk id="7" creationId="{45CD5EFD-3AC2-419B-B0B9-09C08389EAAB}"/>
          </ac:grpSpMkLst>
        </pc:grpChg>
        <pc:grpChg chg="mod">
          <ac:chgData name="Timo Kern" userId="15d2a4cf-c5d2-4f5c-b758-120ba2c8c3b5" providerId="ADAL" clId="{8C32F8C7-D72A-4DCF-9616-202E88C17CAB}" dt="2021-08-31T06:57:44.935" v="0"/>
          <ac:grpSpMkLst>
            <pc:docMk/>
            <pc:sldMk cId="497175084" sldId="460"/>
            <ac:grpSpMk id="10" creationId="{1C4E3058-BE99-427A-B4B1-3B39F1002681}"/>
          </ac:grpSpMkLst>
        </pc:grpChg>
        <pc:graphicFrameChg chg="add mod modGraphic">
          <ac:chgData name="Timo Kern" userId="15d2a4cf-c5d2-4f5c-b758-120ba2c8c3b5" providerId="ADAL" clId="{8C32F8C7-D72A-4DCF-9616-202E88C17CAB}" dt="2021-09-01T11:20:32.905" v="871" actId="20577"/>
          <ac:graphicFrameMkLst>
            <pc:docMk/>
            <pc:sldMk cId="497175084" sldId="460"/>
            <ac:graphicFrameMk id="46" creationId="{4D41B62B-7F85-4223-BB4E-87D087C783CF}"/>
          </ac:graphicFrameMkLst>
        </pc:graphicFrameChg>
        <pc:cxnChg chg="mod">
          <ac:chgData name="Timo Kern" userId="15d2a4cf-c5d2-4f5c-b758-120ba2c8c3b5" providerId="ADAL" clId="{8C32F8C7-D72A-4DCF-9616-202E88C17CAB}" dt="2021-08-31T07:00:08.646" v="133" actId="1036"/>
          <ac:cxnSpMkLst>
            <pc:docMk/>
            <pc:sldMk cId="497175084" sldId="460"/>
            <ac:cxnSpMk id="15" creationId="{5BDC8A8C-3D84-4D5F-8A89-495D3F227422}"/>
          </ac:cxnSpMkLst>
        </pc:cxnChg>
        <pc:cxnChg chg="mod">
          <ac:chgData name="Timo Kern" userId="15d2a4cf-c5d2-4f5c-b758-120ba2c8c3b5" providerId="ADAL" clId="{8C32F8C7-D72A-4DCF-9616-202E88C17CAB}" dt="2021-08-31T06:57:44.935" v="0"/>
          <ac:cxnSpMkLst>
            <pc:docMk/>
            <pc:sldMk cId="497175084" sldId="460"/>
            <ac:cxnSpMk id="16" creationId="{76F06819-C6F2-4949-B2E2-2E4DFAD2DB4B}"/>
          </ac:cxnSpMkLst>
        </pc:cxnChg>
        <pc:cxnChg chg="mod">
          <ac:chgData name="Timo Kern" userId="15d2a4cf-c5d2-4f5c-b758-120ba2c8c3b5" providerId="ADAL" clId="{8C32F8C7-D72A-4DCF-9616-202E88C17CAB}" dt="2021-08-31T06:57:44.935" v="0"/>
          <ac:cxnSpMkLst>
            <pc:docMk/>
            <pc:sldMk cId="497175084" sldId="460"/>
            <ac:cxnSpMk id="19" creationId="{00DEEA13-1846-403D-B332-9DCDBEF8DFC5}"/>
          </ac:cxnSpMkLst>
        </pc:cxnChg>
        <pc:cxnChg chg="mod">
          <ac:chgData name="Timo Kern" userId="15d2a4cf-c5d2-4f5c-b758-120ba2c8c3b5" providerId="ADAL" clId="{8C32F8C7-D72A-4DCF-9616-202E88C17CAB}" dt="2021-08-31T06:57:44.935" v="0"/>
          <ac:cxnSpMkLst>
            <pc:docMk/>
            <pc:sldMk cId="497175084" sldId="460"/>
            <ac:cxnSpMk id="20" creationId="{7BCE77AC-7903-4630-BEA8-E3B475DC08A0}"/>
          </ac:cxnSpMkLst>
        </pc:cxnChg>
        <pc:cxnChg chg="add mod">
          <ac:chgData name="Timo Kern" userId="15d2a4cf-c5d2-4f5c-b758-120ba2c8c3b5" providerId="ADAL" clId="{8C32F8C7-D72A-4DCF-9616-202E88C17CAB}" dt="2021-08-31T09:27:45.205" v="316" actId="404"/>
          <ac:cxnSpMkLst>
            <pc:docMk/>
            <pc:sldMk cId="497175084" sldId="460"/>
            <ac:cxnSpMk id="31" creationId="{A3DDF64E-1829-4541-8F7D-DA511E37B083}"/>
          </ac:cxnSpMkLst>
        </pc:cxnChg>
        <pc:cxnChg chg="add mod">
          <ac:chgData name="Timo Kern" userId="15d2a4cf-c5d2-4f5c-b758-120ba2c8c3b5" providerId="ADAL" clId="{8C32F8C7-D72A-4DCF-9616-202E88C17CAB}" dt="2021-08-31T09:27:45.205" v="316" actId="404"/>
          <ac:cxnSpMkLst>
            <pc:docMk/>
            <pc:sldMk cId="497175084" sldId="460"/>
            <ac:cxnSpMk id="32" creationId="{89700827-D3E0-46A6-ACF0-70924DF53BD3}"/>
          </ac:cxnSpMkLst>
        </pc:cxnChg>
        <pc:cxnChg chg="add del mod">
          <ac:chgData name="Timo Kern" userId="15d2a4cf-c5d2-4f5c-b758-120ba2c8c3b5" providerId="ADAL" clId="{8C32F8C7-D72A-4DCF-9616-202E88C17CAB}" dt="2021-08-31T09:26:55.203" v="308" actId="478"/>
          <ac:cxnSpMkLst>
            <pc:docMk/>
            <pc:sldMk cId="497175084" sldId="460"/>
            <ac:cxnSpMk id="35" creationId="{B4326726-E586-4617-8868-B7FCBF127472}"/>
          </ac:cxnSpMkLst>
        </pc:cxnChg>
        <pc:cxnChg chg="add del mod">
          <ac:chgData name="Timo Kern" userId="15d2a4cf-c5d2-4f5c-b758-120ba2c8c3b5" providerId="ADAL" clId="{8C32F8C7-D72A-4DCF-9616-202E88C17CAB}" dt="2021-08-31T09:26:55.912" v="309" actId="478"/>
          <ac:cxnSpMkLst>
            <pc:docMk/>
            <pc:sldMk cId="497175084" sldId="460"/>
            <ac:cxnSpMk id="36" creationId="{49C75244-16B1-41B5-890C-49D29F60B5C9}"/>
          </ac:cxnSpMkLst>
        </pc:cxnChg>
        <pc:cxnChg chg="add mod">
          <ac:chgData name="Timo Kern" userId="15d2a4cf-c5d2-4f5c-b758-120ba2c8c3b5" providerId="ADAL" clId="{8C32F8C7-D72A-4DCF-9616-202E88C17CAB}" dt="2021-08-31T09:29:15.787" v="371" actId="13822"/>
          <ac:cxnSpMkLst>
            <pc:docMk/>
            <pc:sldMk cId="497175084" sldId="460"/>
            <ac:cxnSpMk id="50" creationId="{4FFAEB3A-B68C-43FE-9907-E67D27AD61C7}"/>
          </ac:cxnSpMkLst>
        </pc:cxnChg>
        <pc:cxnChg chg="add mod">
          <ac:chgData name="Timo Kern" userId="15d2a4cf-c5d2-4f5c-b758-120ba2c8c3b5" providerId="ADAL" clId="{8C32F8C7-D72A-4DCF-9616-202E88C17CAB}" dt="2021-08-31T09:29:38.222" v="400" actId="1037"/>
          <ac:cxnSpMkLst>
            <pc:docMk/>
            <pc:sldMk cId="497175084" sldId="460"/>
            <ac:cxnSpMk id="51" creationId="{B738A917-9EDE-443E-B353-DEB2CDA781EE}"/>
          </ac:cxnSpMkLst>
        </pc:cxnChg>
      </pc:sldChg>
      <pc:sldChg chg="del">
        <pc:chgData name="Timo Kern" userId="15d2a4cf-c5d2-4f5c-b758-120ba2c8c3b5" providerId="ADAL" clId="{8C32F8C7-D72A-4DCF-9616-202E88C17CAB}" dt="2021-08-31T09:17:12.433" v="139" actId="47"/>
        <pc:sldMkLst>
          <pc:docMk/>
          <pc:sldMk cId="2488686772" sldId="462"/>
        </pc:sldMkLst>
      </pc:sldChg>
      <pc:sldChg chg="addSp delSp modSp del mod">
        <pc:chgData name="Timo Kern" userId="15d2a4cf-c5d2-4f5c-b758-120ba2c8c3b5" providerId="ADAL" clId="{8C32F8C7-D72A-4DCF-9616-202E88C17CAB}" dt="2021-08-31T10:02:21.077" v="423" actId="47"/>
        <pc:sldMkLst>
          <pc:docMk/>
          <pc:sldMk cId="2360786017" sldId="463"/>
        </pc:sldMkLst>
        <pc:graphicFrameChg chg="add del mod modGraphic">
          <ac:chgData name="Timo Kern" userId="15d2a4cf-c5d2-4f5c-b758-120ba2c8c3b5" providerId="ADAL" clId="{8C32F8C7-D72A-4DCF-9616-202E88C17CAB}" dt="2021-08-31T09:26:06.759" v="290" actId="21"/>
          <ac:graphicFrameMkLst>
            <pc:docMk/>
            <pc:sldMk cId="2360786017" sldId="463"/>
            <ac:graphicFrameMk id="8" creationId="{00000000-0000-0000-0000-000000000000}"/>
          </ac:graphicFrameMkLst>
        </pc:graphicFrameChg>
      </pc:sldChg>
      <pc:sldChg chg="del">
        <pc:chgData name="Timo Kern" userId="15d2a4cf-c5d2-4f5c-b758-120ba2c8c3b5" providerId="ADAL" clId="{8C32F8C7-D72A-4DCF-9616-202E88C17CAB}" dt="2021-08-31T10:02:22.239" v="424" actId="47"/>
        <pc:sldMkLst>
          <pc:docMk/>
          <pc:sldMk cId="2429683050" sldId="464"/>
        </pc:sldMkLst>
      </pc:sldChg>
      <pc:sldChg chg="addSp delSp modSp mod modClrScheme addAnim delAnim chgLayout">
        <pc:chgData name="Timo Kern" userId="15d2a4cf-c5d2-4f5c-b758-120ba2c8c3b5" providerId="ADAL" clId="{8C32F8C7-D72A-4DCF-9616-202E88C17CAB}" dt="2021-09-01T12:20:16.816" v="3160" actId="20577"/>
        <pc:sldMkLst>
          <pc:docMk/>
          <pc:sldMk cId="1776119999" sldId="465"/>
        </pc:sldMkLst>
        <pc:spChg chg="mod ord">
          <ac:chgData name="Timo Kern" userId="15d2a4cf-c5d2-4f5c-b758-120ba2c8c3b5" providerId="ADAL" clId="{8C32F8C7-D72A-4DCF-9616-202E88C17CAB}" dt="2021-09-01T12:20:16.816" v="3160" actId="20577"/>
          <ac:spMkLst>
            <pc:docMk/>
            <pc:sldMk cId="1776119999" sldId="465"/>
            <ac:spMk id="2" creationId="{00000000-0000-0000-0000-000000000000}"/>
          </ac:spMkLst>
        </pc:spChg>
        <pc:spChg chg="mod ord">
          <ac:chgData name="Timo Kern" userId="15d2a4cf-c5d2-4f5c-b758-120ba2c8c3b5" providerId="ADAL" clId="{8C32F8C7-D72A-4DCF-9616-202E88C17CAB}" dt="2021-09-01T11:26:21.655" v="1523" actId="700"/>
          <ac:spMkLst>
            <pc:docMk/>
            <pc:sldMk cId="1776119999" sldId="465"/>
            <ac:spMk id="3" creationId="{00000000-0000-0000-0000-000000000000}"/>
          </ac:spMkLst>
        </pc:spChg>
        <pc:spChg chg="del">
          <ac:chgData name="Timo Kern" userId="15d2a4cf-c5d2-4f5c-b758-120ba2c8c3b5" providerId="ADAL" clId="{8C32F8C7-D72A-4DCF-9616-202E88C17CAB}" dt="2021-09-01T11:26:58.594" v="1530" actId="478"/>
          <ac:spMkLst>
            <pc:docMk/>
            <pc:sldMk cId="1776119999" sldId="465"/>
            <ac:spMk id="4" creationId="{00000000-0000-0000-0000-000000000000}"/>
          </ac:spMkLst>
        </pc:spChg>
        <pc:spChg chg="add mod ord">
          <ac:chgData name="Timo Kern" userId="15d2a4cf-c5d2-4f5c-b758-120ba2c8c3b5" providerId="ADAL" clId="{8C32F8C7-D72A-4DCF-9616-202E88C17CAB}" dt="2021-09-01T11:26:21.655" v="1523" actId="700"/>
          <ac:spMkLst>
            <pc:docMk/>
            <pc:sldMk cId="1776119999" sldId="465"/>
            <ac:spMk id="5" creationId="{9E1898BD-80E0-4765-9289-AAC119DFAE7F}"/>
          </ac:spMkLst>
        </pc:spChg>
        <pc:graphicFrameChg chg="add del mod">
          <ac:chgData name="Timo Kern" userId="15d2a4cf-c5d2-4f5c-b758-120ba2c8c3b5" providerId="ADAL" clId="{8C32F8C7-D72A-4DCF-9616-202E88C17CAB}" dt="2021-09-01T11:26:55.288" v="1529" actId="478"/>
          <ac:graphicFrameMkLst>
            <pc:docMk/>
            <pc:sldMk cId="1776119999" sldId="465"/>
            <ac:graphicFrameMk id="8" creationId="{00000000-0000-0000-0000-000000000000}"/>
          </ac:graphicFrameMkLst>
        </pc:graphicFrameChg>
      </pc:sldChg>
      <pc:sldChg chg="del">
        <pc:chgData name="Timo Kern" userId="15d2a4cf-c5d2-4f5c-b758-120ba2c8c3b5" providerId="ADAL" clId="{8C32F8C7-D72A-4DCF-9616-202E88C17CAB}" dt="2021-08-31T10:02:33.901" v="425" actId="47"/>
        <pc:sldMkLst>
          <pc:docMk/>
          <pc:sldMk cId="1210658059" sldId="466"/>
        </pc:sldMkLst>
      </pc:sldChg>
      <pc:sldChg chg="del">
        <pc:chgData name="Timo Kern" userId="15d2a4cf-c5d2-4f5c-b758-120ba2c8c3b5" providerId="ADAL" clId="{8C32F8C7-D72A-4DCF-9616-202E88C17CAB}" dt="2021-08-31T10:02:34.716" v="426" actId="47"/>
        <pc:sldMkLst>
          <pc:docMk/>
          <pc:sldMk cId="3448982493" sldId="467"/>
        </pc:sldMkLst>
      </pc:sldChg>
      <pc:sldChg chg="addSp delSp modSp mod modClrScheme modAnim delCm chgLayout">
        <pc:chgData name="Timo Kern" userId="15d2a4cf-c5d2-4f5c-b758-120ba2c8c3b5" providerId="ADAL" clId="{8C32F8C7-D72A-4DCF-9616-202E88C17CAB}" dt="2021-09-01T12:20:10.316" v="3159"/>
        <pc:sldMkLst>
          <pc:docMk/>
          <pc:sldMk cId="1389736812" sldId="468"/>
        </pc:sldMkLst>
        <pc:spChg chg="mod ord">
          <ac:chgData name="Timo Kern" userId="15d2a4cf-c5d2-4f5c-b758-120ba2c8c3b5" providerId="ADAL" clId="{8C32F8C7-D72A-4DCF-9616-202E88C17CAB}" dt="2021-09-01T11:33:23.490" v="1850" actId="20577"/>
          <ac:spMkLst>
            <pc:docMk/>
            <pc:sldMk cId="1389736812" sldId="468"/>
            <ac:spMk id="2" creationId="{00000000-0000-0000-0000-000000000000}"/>
          </ac:spMkLst>
        </pc:spChg>
        <pc:spChg chg="mod ord">
          <ac:chgData name="Timo Kern" userId="15d2a4cf-c5d2-4f5c-b758-120ba2c8c3b5" providerId="ADAL" clId="{8C32F8C7-D72A-4DCF-9616-202E88C17CAB}" dt="2021-09-01T11:30:11.883" v="1572" actId="700"/>
          <ac:spMkLst>
            <pc:docMk/>
            <pc:sldMk cId="1389736812" sldId="468"/>
            <ac:spMk id="3" creationId="{00000000-0000-0000-0000-000000000000}"/>
          </ac:spMkLst>
        </pc:spChg>
        <pc:spChg chg="add del mod ord">
          <ac:chgData name="Timo Kern" userId="15d2a4cf-c5d2-4f5c-b758-120ba2c8c3b5" providerId="ADAL" clId="{8C32F8C7-D72A-4DCF-9616-202E88C17CAB}" dt="2021-08-31T10:03:04.105" v="429" actId="478"/>
          <ac:spMkLst>
            <pc:docMk/>
            <pc:sldMk cId="1389736812" sldId="468"/>
            <ac:spMk id="4" creationId="{60081DCA-C976-49E6-B647-CF7456203F12}"/>
          </ac:spMkLst>
        </pc:spChg>
        <pc:spChg chg="add mod">
          <ac:chgData name="Timo Kern" userId="15d2a4cf-c5d2-4f5c-b758-120ba2c8c3b5" providerId="ADAL" clId="{8C32F8C7-D72A-4DCF-9616-202E88C17CAB}" dt="2021-09-01T12:19:53.810" v="3158" actId="208"/>
          <ac:spMkLst>
            <pc:docMk/>
            <pc:sldMk cId="1389736812" sldId="468"/>
            <ac:spMk id="4" creationId="{A064B7B9-9FE5-47F8-883E-27F9ADB25A9C}"/>
          </ac:spMkLst>
        </pc:spChg>
        <pc:spChg chg="add mod ord">
          <ac:chgData name="Timo Kern" userId="15d2a4cf-c5d2-4f5c-b758-120ba2c8c3b5" providerId="ADAL" clId="{8C32F8C7-D72A-4DCF-9616-202E88C17CAB}" dt="2021-09-01T12:14:02.824" v="2852" actId="20577"/>
          <ac:spMkLst>
            <pc:docMk/>
            <pc:sldMk cId="1389736812" sldId="468"/>
            <ac:spMk id="7" creationId="{29C8329D-11ED-4815-9834-9DA759BF8830}"/>
          </ac:spMkLst>
        </pc:spChg>
        <pc:spChg chg="del">
          <ac:chgData name="Timo Kern" userId="15d2a4cf-c5d2-4f5c-b758-120ba2c8c3b5" providerId="ADAL" clId="{8C32F8C7-D72A-4DCF-9616-202E88C17CAB}" dt="2021-09-01T11:30:03.034" v="1570" actId="478"/>
          <ac:spMkLst>
            <pc:docMk/>
            <pc:sldMk cId="1389736812" sldId="468"/>
            <ac:spMk id="9" creationId="{00000000-0000-0000-0000-000000000000}"/>
          </ac:spMkLst>
        </pc:spChg>
        <pc:spChg chg="add mod">
          <ac:chgData name="Timo Kern" userId="15d2a4cf-c5d2-4f5c-b758-120ba2c8c3b5" providerId="ADAL" clId="{8C32F8C7-D72A-4DCF-9616-202E88C17CAB}" dt="2021-09-01T12:03:41.816" v="2454" actId="20577"/>
          <ac:spMkLst>
            <pc:docMk/>
            <pc:sldMk cId="1389736812" sldId="468"/>
            <ac:spMk id="10" creationId="{01CC495E-075F-41F6-8F90-4F1C5F9A82C3}"/>
          </ac:spMkLst>
        </pc:spChg>
        <pc:spChg chg="add del mod">
          <ac:chgData name="Timo Kern" userId="15d2a4cf-c5d2-4f5c-b758-120ba2c8c3b5" providerId="ADAL" clId="{8C32F8C7-D72A-4DCF-9616-202E88C17CAB}" dt="2021-09-01T11:52:22.568" v="2157" actId="478"/>
          <ac:spMkLst>
            <pc:docMk/>
            <pc:sldMk cId="1389736812" sldId="468"/>
            <ac:spMk id="12" creationId="{A4AE53C8-DC5C-48D9-A702-D4607DE82548}"/>
          </ac:spMkLst>
        </pc:spChg>
        <pc:spChg chg="add mod">
          <ac:chgData name="Timo Kern" userId="15d2a4cf-c5d2-4f5c-b758-120ba2c8c3b5" providerId="ADAL" clId="{8C32F8C7-D72A-4DCF-9616-202E88C17CAB}" dt="2021-09-01T11:52:16.299" v="2155" actId="1036"/>
          <ac:spMkLst>
            <pc:docMk/>
            <pc:sldMk cId="1389736812" sldId="468"/>
            <ac:spMk id="14" creationId="{93C5FC21-171A-459B-A089-51E6252B7F7F}"/>
          </ac:spMkLst>
        </pc:spChg>
        <pc:spChg chg="add mod">
          <ac:chgData name="Timo Kern" userId="15d2a4cf-c5d2-4f5c-b758-120ba2c8c3b5" providerId="ADAL" clId="{8C32F8C7-D72A-4DCF-9616-202E88C17CAB}" dt="2021-09-01T11:52:46.273" v="2179" actId="1037"/>
          <ac:spMkLst>
            <pc:docMk/>
            <pc:sldMk cId="1389736812" sldId="468"/>
            <ac:spMk id="15" creationId="{3EA93273-336A-4FF7-92D0-55D327EC2425}"/>
          </ac:spMkLst>
        </pc:spChg>
        <pc:spChg chg="add mod ord">
          <ac:chgData name="Timo Kern" userId="15d2a4cf-c5d2-4f5c-b758-120ba2c8c3b5" providerId="ADAL" clId="{8C32F8C7-D72A-4DCF-9616-202E88C17CAB}" dt="2021-09-01T11:57:56.069" v="2284" actId="1036"/>
          <ac:spMkLst>
            <pc:docMk/>
            <pc:sldMk cId="1389736812" sldId="468"/>
            <ac:spMk id="16" creationId="{C299EA3A-FE2D-4FBD-965D-A783AE9F8E82}"/>
          </ac:spMkLst>
        </pc:spChg>
        <pc:spChg chg="add mod">
          <ac:chgData name="Timo Kern" userId="15d2a4cf-c5d2-4f5c-b758-120ba2c8c3b5" providerId="ADAL" clId="{8C32F8C7-D72A-4DCF-9616-202E88C17CAB}" dt="2021-09-01T11:57:44.653" v="2274" actId="255"/>
          <ac:spMkLst>
            <pc:docMk/>
            <pc:sldMk cId="1389736812" sldId="468"/>
            <ac:spMk id="17" creationId="{D4C84993-7BEE-4060-8CC5-4EB5B0A29219}"/>
          </ac:spMkLst>
        </pc:spChg>
        <pc:spChg chg="add mod ord">
          <ac:chgData name="Timo Kern" userId="15d2a4cf-c5d2-4f5c-b758-120ba2c8c3b5" providerId="ADAL" clId="{8C32F8C7-D72A-4DCF-9616-202E88C17CAB}" dt="2021-09-01T11:58:05.836" v="2285" actId="465"/>
          <ac:spMkLst>
            <pc:docMk/>
            <pc:sldMk cId="1389736812" sldId="468"/>
            <ac:spMk id="18" creationId="{FB096188-7947-466A-9849-1528755A74ED}"/>
          </ac:spMkLst>
        </pc:spChg>
        <pc:spChg chg="add mod ord">
          <ac:chgData name="Timo Kern" userId="15d2a4cf-c5d2-4f5c-b758-120ba2c8c3b5" providerId="ADAL" clId="{8C32F8C7-D72A-4DCF-9616-202E88C17CAB}" dt="2021-09-01T11:58:05.836" v="2285" actId="465"/>
          <ac:spMkLst>
            <pc:docMk/>
            <pc:sldMk cId="1389736812" sldId="468"/>
            <ac:spMk id="19" creationId="{398DA039-C006-4D3F-A5B4-DD7A06F49357}"/>
          </ac:spMkLst>
        </pc:spChg>
        <pc:spChg chg="add mod ord">
          <ac:chgData name="Timo Kern" userId="15d2a4cf-c5d2-4f5c-b758-120ba2c8c3b5" providerId="ADAL" clId="{8C32F8C7-D72A-4DCF-9616-202E88C17CAB}" dt="2021-09-01T11:58:05.836" v="2285" actId="465"/>
          <ac:spMkLst>
            <pc:docMk/>
            <pc:sldMk cId="1389736812" sldId="468"/>
            <ac:spMk id="20" creationId="{8E035945-A807-42FC-A1C9-D985FFA0A69B}"/>
          </ac:spMkLst>
        </pc:spChg>
        <pc:spChg chg="add mod ord">
          <ac:chgData name="Timo Kern" userId="15d2a4cf-c5d2-4f5c-b758-120ba2c8c3b5" providerId="ADAL" clId="{8C32F8C7-D72A-4DCF-9616-202E88C17CAB}" dt="2021-09-01T11:57:52.650" v="2279" actId="1036"/>
          <ac:spMkLst>
            <pc:docMk/>
            <pc:sldMk cId="1389736812" sldId="468"/>
            <ac:spMk id="21" creationId="{E256C4B5-346F-4D22-97CD-4B7601ED1199}"/>
          </ac:spMkLst>
        </pc:spChg>
        <pc:picChg chg="mod">
          <ac:chgData name="Timo Kern" userId="15d2a4cf-c5d2-4f5c-b758-120ba2c8c3b5" providerId="ADAL" clId="{8C32F8C7-D72A-4DCF-9616-202E88C17CAB}" dt="2021-09-01T11:29:56.808" v="1569" actId="1076"/>
          <ac:picMkLst>
            <pc:docMk/>
            <pc:sldMk cId="1389736812" sldId="468"/>
            <ac:picMk id="5" creationId="{00000000-0000-0000-0000-000000000000}"/>
          </ac:picMkLst>
        </pc:picChg>
        <pc:cxnChg chg="add mod">
          <ac:chgData name="Timo Kern" userId="15d2a4cf-c5d2-4f5c-b758-120ba2c8c3b5" providerId="ADAL" clId="{8C32F8C7-D72A-4DCF-9616-202E88C17CAB}" dt="2021-09-01T11:30:43.057" v="1588" actId="1036"/>
          <ac:cxnSpMkLst>
            <pc:docMk/>
            <pc:sldMk cId="1389736812" sldId="468"/>
            <ac:cxnSpMk id="6" creationId="{146FE3D2-17EF-4206-9A34-BB7DDC12B9E2}"/>
          </ac:cxnSpMkLst>
        </pc:cxnChg>
      </pc:sldChg>
      <pc:sldChg chg="addSp modSp del mod modClrScheme addCm delCm chgLayout">
        <pc:chgData name="Timo Kern" userId="15d2a4cf-c5d2-4f5c-b758-120ba2c8c3b5" providerId="ADAL" clId="{8C32F8C7-D72A-4DCF-9616-202E88C17CAB}" dt="2021-09-01T12:20:25.688" v="3161" actId="47"/>
        <pc:sldMkLst>
          <pc:docMk/>
          <pc:sldMk cId="1038370301" sldId="469"/>
        </pc:sldMkLst>
        <pc:spChg chg="mod ord">
          <ac:chgData name="Timo Kern" userId="15d2a4cf-c5d2-4f5c-b758-120ba2c8c3b5" providerId="ADAL" clId="{8C32F8C7-D72A-4DCF-9616-202E88C17CAB}" dt="2021-09-01T12:12:18.624" v="2689" actId="20577"/>
          <ac:spMkLst>
            <pc:docMk/>
            <pc:sldMk cId="1038370301" sldId="469"/>
            <ac:spMk id="2" creationId="{00000000-0000-0000-0000-000000000000}"/>
          </ac:spMkLst>
        </pc:spChg>
        <pc:spChg chg="mod ord">
          <ac:chgData name="Timo Kern" userId="15d2a4cf-c5d2-4f5c-b758-120ba2c8c3b5" providerId="ADAL" clId="{8C32F8C7-D72A-4DCF-9616-202E88C17CAB}" dt="2021-09-01T12:11:42.339" v="2650" actId="700"/>
          <ac:spMkLst>
            <pc:docMk/>
            <pc:sldMk cId="1038370301" sldId="469"/>
            <ac:spMk id="3" creationId="{00000000-0000-0000-0000-000000000000}"/>
          </ac:spMkLst>
        </pc:spChg>
        <pc:spChg chg="add mod ord">
          <ac:chgData name="Timo Kern" userId="15d2a4cf-c5d2-4f5c-b758-120ba2c8c3b5" providerId="ADAL" clId="{8C32F8C7-D72A-4DCF-9616-202E88C17CAB}" dt="2021-09-01T12:11:42.339" v="2650" actId="700"/>
          <ac:spMkLst>
            <pc:docMk/>
            <pc:sldMk cId="1038370301" sldId="469"/>
            <ac:spMk id="4" creationId="{3D7D8EB9-983B-4750-AE02-51A51A0E774E}"/>
          </ac:spMkLst>
        </pc:spChg>
      </pc:sldChg>
      <pc:sldChg chg="addSp delSp modSp mod modClrScheme delCm chgLayout">
        <pc:chgData name="Timo Kern" userId="15d2a4cf-c5d2-4f5c-b758-120ba2c8c3b5" providerId="ADAL" clId="{8C32F8C7-D72A-4DCF-9616-202E88C17CAB}" dt="2021-09-03T08:54:14.503" v="5699" actId="552"/>
        <pc:sldMkLst>
          <pc:docMk/>
          <pc:sldMk cId="1583289309" sldId="470"/>
        </pc:sldMkLst>
        <pc:spChg chg="mod ord">
          <ac:chgData name="Timo Kern" userId="15d2a4cf-c5d2-4f5c-b758-120ba2c8c3b5" providerId="ADAL" clId="{8C32F8C7-D72A-4DCF-9616-202E88C17CAB}" dt="2021-09-02T09:52:18.691" v="5143" actId="20577"/>
          <ac:spMkLst>
            <pc:docMk/>
            <pc:sldMk cId="1583289309" sldId="470"/>
            <ac:spMk id="2" creationId="{00000000-0000-0000-0000-000000000000}"/>
          </ac:spMkLst>
        </pc:spChg>
        <pc:spChg chg="mod ord">
          <ac:chgData name="Timo Kern" userId="15d2a4cf-c5d2-4f5c-b758-120ba2c8c3b5" providerId="ADAL" clId="{8C32F8C7-D72A-4DCF-9616-202E88C17CAB}" dt="2021-09-02T09:38:07.369" v="4857" actId="700"/>
          <ac:spMkLst>
            <pc:docMk/>
            <pc:sldMk cId="1583289309" sldId="470"/>
            <ac:spMk id="3" creationId="{00000000-0000-0000-0000-000000000000}"/>
          </ac:spMkLst>
        </pc:spChg>
        <pc:spChg chg="add del mod ord">
          <ac:chgData name="Timo Kern" userId="15d2a4cf-c5d2-4f5c-b758-120ba2c8c3b5" providerId="ADAL" clId="{8C32F8C7-D72A-4DCF-9616-202E88C17CAB}" dt="2021-09-02T09:48:21.260" v="4865" actId="478"/>
          <ac:spMkLst>
            <pc:docMk/>
            <pc:sldMk cId="1583289309" sldId="470"/>
            <ac:spMk id="4" creationId="{E72E744F-A091-4AFB-8873-F869882741CF}"/>
          </ac:spMkLst>
        </pc:spChg>
        <pc:spChg chg="add del mod">
          <ac:chgData name="Timo Kern" userId="15d2a4cf-c5d2-4f5c-b758-120ba2c8c3b5" providerId="ADAL" clId="{8C32F8C7-D72A-4DCF-9616-202E88C17CAB}" dt="2021-09-02T09:48:09.155" v="4859" actId="478"/>
          <ac:spMkLst>
            <pc:docMk/>
            <pc:sldMk cId="1583289309" sldId="470"/>
            <ac:spMk id="6" creationId="{537DD0EA-C702-4AE1-9696-53C60201CAAA}"/>
          </ac:spMkLst>
        </pc:spChg>
        <pc:spChg chg="del mod">
          <ac:chgData name="Timo Kern" userId="15d2a4cf-c5d2-4f5c-b758-120ba2c8c3b5" providerId="ADAL" clId="{8C32F8C7-D72A-4DCF-9616-202E88C17CAB}" dt="2021-09-02T09:53:00.538" v="5184" actId="478"/>
          <ac:spMkLst>
            <pc:docMk/>
            <pc:sldMk cId="1583289309" sldId="470"/>
            <ac:spMk id="9" creationId="{00000000-0000-0000-0000-000000000000}"/>
          </ac:spMkLst>
        </pc:spChg>
        <pc:spChg chg="add mod">
          <ac:chgData name="Timo Kern" userId="15d2a4cf-c5d2-4f5c-b758-120ba2c8c3b5" providerId="ADAL" clId="{8C32F8C7-D72A-4DCF-9616-202E88C17CAB}" dt="2021-09-02T10:23:03.987" v="5551" actId="1037"/>
          <ac:spMkLst>
            <pc:docMk/>
            <pc:sldMk cId="1583289309" sldId="470"/>
            <ac:spMk id="10" creationId="{A5B77E37-9007-44C0-8667-D2E92A0A4713}"/>
          </ac:spMkLst>
        </pc:spChg>
        <pc:spChg chg="add mod">
          <ac:chgData name="Timo Kern" userId="15d2a4cf-c5d2-4f5c-b758-120ba2c8c3b5" providerId="ADAL" clId="{8C32F8C7-D72A-4DCF-9616-202E88C17CAB}" dt="2021-09-03T07:44:31.806" v="5676" actId="20577"/>
          <ac:spMkLst>
            <pc:docMk/>
            <pc:sldMk cId="1583289309" sldId="470"/>
            <ac:spMk id="11" creationId="{DF2041AA-A345-425D-AF05-03526FA34E9A}"/>
          </ac:spMkLst>
        </pc:spChg>
        <pc:spChg chg="add mod">
          <ac:chgData name="Timo Kern" userId="15d2a4cf-c5d2-4f5c-b758-120ba2c8c3b5" providerId="ADAL" clId="{8C32F8C7-D72A-4DCF-9616-202E88C17CAB}" dt="2021-09-02T10:23:03.987" v="5551" actId="1037"/>
          <ac:spMkLst>
            <pc:docMk/>
            <pc:sldMk cId="1583289309" sldId="470"/>
            <ac:spMk id="13" creationId="{0749D5AC-596D-434A-BD1D-F231AF26B424}"/>
          </ac:spMkLst>
        </pc:spChg>
        <pc:spChg chg="add del mod">
          <ac:chgData name="Timo Kern" userId="15d2a4cf-c5d2-4f5c-b758-120ba2c8c3b5" providerId="ADAL" clId="{8C32F8C7-D72A-4DCF-9616-202E88C17CAB}" dt="2021-09-02T09:58:29.875" v="5341"/>
          <ac:spMkLst>
            <pc:docMk/>
            <pc:sldMk cId="1583289309" sldId="470"/>
            <ac:spMk id="14" creationId="{C9994B9F-A3D8-4EC0-96B5-B8BC5249E8F4}"/>
          </ac:spMkLst>
        </pc:spChg>
        <pc:spChg chg="add del mod">
          <ac:chgData name="Timo Kern" userId="15d2a4cf-c5d2-4f5c-b758-120ba2c8c3b5" providerId="ADAL" clId="{8C32F8C7-D72A-4DCF-9616-202E88C17CAB}" dt="2021-09-02T09:58:29.875" v="5341"/>
          <ac:spMkLst>
            <pc:docMk/>
            <pc:sldMk cId="1583289309" sldId="470"/>
            <ac:spMk id="15" creationId="{333E8AFB-6851-43C2-BEF8-CCFD3CB0299F}"/>
          </ac:spMkLst>
        </pc:spChg>
        <pc:spChg chg="add del mod">
          <ac:chgData name="Timo Kern" userId="15d2a4cf-c5d2-4f5c-b758-120ba2c8c3b5" providerId="ADAL" clId="{8C32F8C7-D72A-4DCF-9616-202E88C17CAB}" dt="2021-09-02T09:58:29.875" v="5341"/>
          <ac:spMkLst>
            <pc:docMk/>
            <pc:sldMk cId="1583289309" sldId="470"/>
            <ac:spMk id="16" creationId="{749ADD24-6C3B-40A0-8C27-520153CDF32B}"/>
          </ac:spMkLst>
        </pc:spChg>
        <pc:spChg chg="add del mod">
          <ac:chgData name="Timo Kern" userId="15d2a4cf-c5d2-4f5c-b758-120ba2c8c3b5" providerId="ADAL" clId="{8C32F8C7-D72A-4DCF-9616-202E88C17CAB}" dt="2021-09-02T09:58:29.875" v="5341"/>
          <ac:spMkLst>
            <pc:docMk/>
            <pc:sldMk cId="1583289309" sldId="470"/>
            <ac:spMk id="17" creationId="{7FD9E8CB-E874-4CEB-975F-A25561F6F3A3}"/>
          </ac:spMkLst>
        </pc:spChg>
        <pc:spChg chg="add del mod">
          <ac:chgData name="Timo Kern" userId="15d2a4cf-c5d2-4f5c-b758-120ba2c8c3b5" providerId="ADAL" clId="{8C32F8C7-D72A-4DCF-9616-202E88C17CAB}" dt="2021-09-02T09:58:29.875" v="5341"/>
          <ac:spMkLst>
            <pc:docMk/>
            <pc:sldMk cId="1583289309" sldId="470"/>
            <ac:spMk id="18" creationId="{827A8D45-7ED8-4888-B682-FD548CE77E33}"/>
          </ac:spMkLst>
        </pc:spChg>
        <pc:spChg chg="add mod">
          <ac:chgData name="Timo Kern" userId="15d2a4cf-c5d2-4f5c-b758-120ba2c8c3b5" providerId="ADAL" clId="{8C32F8C7-D72A-4DCF-9616-202E88C17CAB}" dt="2021-09-02T10:23:03.987" v="5551" actId="1037"/>
          <ac:spMkLst>
            <pc:docMk/>
            <pc:sldMk cId="1583289309" sldId="470"/>
            <ac:spMk id="19" creationId="{FB4BA684-BC62-479C-9132-EFBD31424563}"/>
          </ac:spMkLst>
        </pc:spChg>
        <pc:spChg chg="add mod">
          <ac:chgData name="Timo Kern" userId="15d2a4cf-c5d2-4f5c-b758-120ba2c8c3b5" providerId="ADAL" clId="{8C32F8C7-D72A-4DCF-9616-202E88C17CAB}" dt="2021-09-03T08:54:14.503" v="5699" actId="552"/>
          <ac:spMkLst>
            <pc:docMk/>
            <pc:sldMk cId="1583289309" sldId="470"/>
            <ac:spMk id="20" creationId="{76891228-1323-4BE6-9CDE-56B70EE32F6C}"/>
          </ac:spMkLst>
        </pc:spChg>
        <pc:spChg chg="add mod">
          <ac:chgData name="Timo Kern" userId="15d2a4cf-c5d2-4f5c-b758-120ba2c8c3b5" providerId="ADAL" clId="{8C32F8C7-D72A-4DCF-9616-202E88C17CAB}" dt="2021-09-03T08:54:14.503" v="5699" actId="552"/>
          <ac:spMkLst>
            <pc:docMk/>
            <pc:sldMk cId="1583289309" sldId="470"/>
            <ac:spMk id="21" creationId="{DE509D93-3A0B-48A8-A7A7-F616E4F39175}"/>
          </ac:spMkLst>
        </pc:spChg>
        <pc:spChg chg="add mod">
          <ac:chgData name="Timo Kern" userId="15d2a4cf-c5d2-4f5c-b758-120ba2c8c3b5" providerId="ADAL" clId="{8C32F8C7-D72A-4DCF-9616-202E88C17CAB}" dt="2021-09-03T08:54:14.503" v="5699" actId="552"/>
          <ac:spMkLst>
            <pc:docMk/>
            <pc:sldMk cId="1583289309" sldId="470"/>
            <ac:spMk id="22" creationId="{8D5B51FF-D113-4F05-A5E1-D3D22AD8508A}"/>
          </ac:spMkLst>
        </pc:spChg>
        <pc:spChg chg="add mod">
          <ac:chgData name="Timo Kern" userId="15d2a4cf-c5d2-4f5c-b758-120ba2c8c3b5" providerId="ADAL" clId="{8C32F8C7-D72A-4DCF-9616-202E88C17CAB}" dt="2021-09-03T08:54:14.503" v="5699" actId="552"/>
          <ac:spMkLst>
            <pc:docMk/>
            <pc:sldMk cId="1583289309" sldId="470"/>
            <ac:spMk id="23" creationId="{89C383C1-F0A6-4B50-B430-E598DD8913CE}"/>
          </ac:spMkLst>
        </pc:spChg>
        <pc:spChg chg="add mod">
          <ac:chgData name="Timo Kern" userId="15d2a4cf-c5d2-4f5c-b758-120ba2c8c3b5" providerId="ADAL" clId="{8C32F8C7-D72A-4DCF-9616-202E88C17CAB}" dt="2021-09-03T08:54:14.503" v="5699" actId="552"/>
          <ac:spMkLst>
            <pc:docMk/>
            <pc:sldMk cId="1583289309" sldId="470"/>
            <ac:spMk id="24" creationId="{8C3C4465-0797-4DFC-9BEA-0585FD4CC577}"/>
          </ac:spMkLst>
        </pc:spChg>
        <pc:spChg chg="add mod">
          <ac:chgData name="Timo Kern" userId="15d2a4cf-c5d2-4f5c-b758-120ba2c8c3b5" providerId="ADAL" clId="{8C32F8C7-D72A-4DCF-9616-202E88C17CAB}" dt="2021-09-02T10:23:03.987" v="5551" actId="1037"/>
          <ac:spMkLst>
            <pc:docMk/>
            <pc:sldMk cId="1583289309" sldId="470"/>
            <ac:spMk id="25" creationId="{CE3984EB-62C7-4D9D-95BE-F020A3A00D97}"/>
          </ac:spMkLst>
        </pc:spChg>
        <pc:spChg chg="add mod">
          <ac:chgData name="Timo Kern" userId="15d2a4cf-c5d2-4f5c-b758-120ba2c8c3b5" providerId="ADAL" clId="{8C32F8C7-D72A-4DCF-9616-202E88C17CAB}" dt="2021-09-02T10:23:03.987" v="5551" actId="1037"/>
          <ac:spMkLst>
            <pc:docMk/>
            <pc:sldMk cId="1583289309" sldId="470"/>
            <ac:spMk id="26" creationId="{99B6B443-494F-4D10-878A-E0E6B5AA5469}"/>
          </ac:spMkLst>
        </pc:spChg>
        <pc:picChg chg="mod">
          <ac:chgData name="Timo Kern" userId="15d2a4cf-c5d2-4f5c-b758-120ba2c8c3b5" providerId="ADAL" clId="{8C32F8C7-D72A-4DCF-9616-202E88C17CAB}" dt="2021-09-02T10:23:03.987" v="5551" actId="1037"/>
          <ac:picMkLst>
            <pc:docMk/>
            <pc:sldMk cId="1583289309" sldId="470"/>
            <ac:picMk id="8" creationId="{00000000-0000-0000-0000-000000000000}"/>
          </ac:picMkLst>
        </pc:picChg>
        <pc:cxnChg chg="add mod">
          <ac:chgData name="Timo Kern" userId="15d2a4cf-c5d2-4f5c-b758-120ba2c8c3b5" providerId="ADAL" clId="{8C32F8C7-D72A-4DCF-9616-202E88C17CAB}" dt="2021-09-02T09:48:31.202" v="4867"/>
          <ac:cxnSpMkLst>
            <pc:docMk/>
            <pc:sldMk cId="1583289309" sldId="470"/>
            <ac:cxnSpMk id="12" creationId="{44068FFF-C25D-4A17-81B9-FFCA9726BB06}"/>
          </ac:cxnSpMkLst>
        </pc:cxnChg>
      </pc:sldChg>
      <pc:sldChg chg="addSp delSp modSp mod modClrScheme delCm chgLayout">
        <pc:chgData name="Timo Kern" userId="15d2a4cf-c5d2-4f5c-b758-120ba2c8c3b5" providerId="ADAL" clId="{8C32F8C7-D72A-4DCF-9616-202E88C17CAB}" dt="2021-09-03T07:45:16.535" v="5678" actId="20577"/>
        <pc:sldMkLst>
          <pc:docMk/>
          <pc:sldMk cId="4275616790" sldId="471"/>
        </pc:sldMkLst>
        <pc:spChg chg="mod ord">
          <ac:chgData name="Timo Kern" userId="15d2a4cf-c5d2-4f5c-b758-120ba2c8c3b5" providerId="ADAL" clId="{8C32F8C7-D72A-4DCF-9616-202E88C17CAB}" dt="2021-09-03T07:44:03.799" v="5674" actId="20577"/>
          <ac:spMkLst>
            <pc:docMk/>
            <pc:sldMk cId="4275616790" sldId="471"/>
            <ac:spMk id="2" creationId="{00000000-0000-0000-0000-000000000000}"/>
          </ac:spMkLst>
        </pc:spChg>
        <pc:spChg chg="mod ord">
          <ac:chgData name="Timo Kern" userId="15d2a4cf-c5d2-4f5c-b758-120ba2c8c3b5" providerId="ADAL" clId="{8C32F8C7-D72A-4DCF-9616-202E88C17CAB}" dt="2021-09-02T10:22:18.482" v="5525" actId="700"/>
          <ac:spMkLst>
            <pc:docMk/>
            <pc:sldMk cId="4275616790" sldId="471"/>
            <ac:spMk id="3" creationId="{00000000-0000-0000-0000-000000000000}"/>
          </ac:spMkLst>
        </pc:spChg>
        <pc:spChg chg="add del mod ord">
          <ac:chgData name="Timo Kern" userId="15d2a4cf-c5d2-4f5c-b758-120ba2c8c3b5" providerId="ADAL" clId="{8C32F8C7-D72A-4DCF-9616-202E88C17CAB}" dt="2021-09-02T10:22:28.920" v="5527" actId="478"/>
          <ac:spMkLst>
            <pc:docMk/>
            <pc:sldMk cId="4275616790" sldId="471"/>
            <ac:spMk id="4" creationId="{5AA09384-A211-4D9F-8F09-E2F76A8B8330}"/>
          </ac:spMkLst>
        </pc:spChg>
        <pc:spChg chg="add mod">
          <ac:chgData name="Timo Kern" userId="15d2a4cf-c5d2-4f5c-b758-120ba2c8c3b5" providerId="ADAL" clId="{8C32F8C7-D72A-4DCF-9616-202E88C17CAB}" dt="2021-09-02T10:23:34.871" v="5585" actId="1038"/>
          <ac:spMkLst>
            <pc:docMk/>
            <pc:sldMk cId="4275616790" sldId="471"/>
            <ac:spMk id="7" creationId="{43DFF904-55F1-4EBB-B448-AF29A62C6552}"/>
          </ac:spMkLst>
        </pc:spChg>
        <pc:spChg chg="add del mod">
          <ac:chgData name="Timo Kern" userId="15d2a4cf-c5d2-4f5c-b758-120ba2c8c3b5" providerId="ADAL" clId="{8C32F8C7-D72A-4DCF-9616-202E88C17CAB}" dt="2021-09-02T10:21:47.483" v="5521" actId="478"/>
          <ac:spMkLst>
            <pc:docMk/>
            <pc:sldMk cId="4275616790" sldId="471"/>
            <ac:spMk id="8" creationId="{724A876A-72D9-4259-ABE7-68486746FFAA}"/>
          </ac:spMkLst>
        </pc:spChg>
        <pc:spChg chg="mod">
          <ac:chgData name="Timo Kern" userId="15d2a4cf-c5d2-4f5c-b758-120ba2c8c3b5" providerId="ADAL" clId="{8C32F8C7-D72A-4DCF-9616-202E88C17CAB}" dt="2021-09-02T10:22:41.285" v="5528" actId="1076"/>
          <ac:spMkLst>
            <pc:docMk/>
            <pc:sldMk cId="4275616790" sldId="471"/>
            <ac:spMk id="9" creationId="{00000000-0000-0000-0000-000000000000}"/>
          </ac:spMkLst>
        </pc:spChg>
        <pc:spChg chg="add del mod">
          <ac:chgData name="Timo Kern" userId="15d2a4cf-c5d2-4f5c-b758-120ba2c8c3b5" providerId="ADAL" clId="{8C32F8C7-D72A-4DCF-9616-202E88C17CAB}" dt="2021-09-02T10:21:47.483" v="5521" actId="478"/>
          <ac:spMkLst>
            <pc:docMk/>
            <pc:sldMk cId="4275616790" sldId="471"/>
            <ac:spMk id="10" creationId="{4378C563-439B-49A9-A383-94C3C36D5168}"/>
          </ac:spMkLst>
        </pc:spChg>
        <pc:spChg chg="add del mod">
          <ac:chgData name="Timo Kern" userId="15d2a4cf-c5d2-4f5c-b758-120ba2c8c3b5" providerId="ADAL" clId="{8C32F8C7-D72A-4DCF-9616-202E88C17CAB}" dt="2021-09-02T10:21:47.483" v="5521" actId="478"/>
          <ac:spMkLst>
            <pc:docMk/>
            <pc:sldMk cId="4275616790" sldId="471"/>
            <ac:spMk id="11" creationId="{90EA1214-D45E-4A82-B803-C079D4AF6F9B}"/>
          </ac:spMkLst>
        </pc:spChg>
        <pc:spChg chg="add del mod">
          <ac:chgData name="Timo Kern" userId="15d2a4cf-c5d2-4f5c-b758-120ba2c8c3b5" providerId="ADAL" clId="{8C32F8C7-D72A-4DCF-9616-202E88C17CAB}" dt="2021-09-02T10:21:47.483" v="5521" actId="478"/>
          <ac:spMkLst>
            <pc:docMk/>
            <pc:sldMk cId="4275616790" sldId="471"/>
            <ac:spMk id="12" creationId="{75588FB2-7C81-4F3F-8F36-CE4D37425846}"/>
          </ac:spMkLst>
        </pc:spChg>
        <pc:spChg chg="add del mod">
          <ac:chgData name="Timo Kern" userId="15d2a4cf-c5d2-4f5c-b758-120ba2c8c3b5" providerId="ADAL" clId="{8C32F8C7-D72A-4DCF-9616-202E88C17CAB}" dt="2021-09-02T10:21:47.483" v="5521" actId="478"/>
          <ac:spMkLst>
            <pc:docMk/>
            <pc:sldMk cId="4275616790" sldId="471"/>
            <ac:spMk id="13" creationId="{C7C1506A-744B-4DE5-B8D6-52CE66A354B4}"/>
          </ac:spMkLst>
        </pc:spChg>
        <pc:spChg chg="add del mod">
          <ac:chgData name="Timo Kern" userId="15d2a4cf-c5d2-4f5c-b758-120ba2c8c3b5" providerId="ADAL" clId="{8C32F8C7-D72A-4DCF-9616-202E88C17CAB}" dt="2021-09-02T10:21:47.483" v="5521" actId="478"/>
          <ac:spMkLst>
            <pc:docMk/>
            <pc:sldMk cId="4275616790" sldId="471"/>
            <ac:spMk id="14" creationId="{046E5B8B-1A65-4DB0-B58D-ADBA68F55B88}"/>
          </ac:spMkLst>
        </pc:spChg>
        <pc:spChg chg="add mod">
          <ac:chgData name="Timo Kern" userId="15d2a4cf-c5d2-4f5c-b758-120ba2c8c3b5" providerId="ADAL" clId="{8C32F8C7-D72A-4DCF-9616-202E88C17CAB}" dt="2021-09-03T07:45:16.535" v="5678" actId="20577"/>
          <ac:spMkLst>
            <pc:docMk/>
            <pc:sldMk cId="4275616790" sldId="471"/>
            <ac:spMk id="16" creationId="{94099105-DA8C-4347-890C-0BC51384AF3F}"/>
          </ac:spMkLst>
        </pc:spChg>
        <pc:picChg chg="mod ord">
          <ac:chgData name="Timo Kern" userId="15d2a4cf-c5d2-4f5c-b758-120ba2c8c3b5" providerId="ADAL" clId="{8C32F8C7-D72A-4DCF-9616-202E88C17CAB}" dt="2021-09-02T10:23:39.084" v="5586" actId="167"/>
          <ac:picMkLst>
            <pc:docMk/>
            <pc:sldMk cId="4275616790" sldId="471"/>
            <ac:picMk id="6" creationId="{00000000-0000-0000-0000-000000000000}"/>
          </ac:picMkLst>
        </pc:picChg>
        <pc:picChg chg="add del mod">
          <ac:chgData name="Timo Kern" userId="15d2a4cf-c5d2-4f5c-b758-120ba2c8c3b5" providerId="ADAL" clId="{8C32F8C7-D72A-4DCF-9616-202E88C17CAB}" dt="2021-09-02T10:22:08.539" v="5524" actId="478"/>
          <ac:picMkLst>
            <pc:docMk/>
            <pc:sldMk cId="4275616790" sldId="471"/>
            <ac:picMk id="15" creationId="{DD5FBEE1-1B09-4A47-ACC9-3EE4BADD4526}"/>
          </ac:picMkLst>
        </pc:picChg>
        <pc:picChg chg="add del mod ord">
          <ac:chgData name="Timo Kern" userId="15d2a4cf-c5d2-4f5c-b758-120ba2c8c3b5" providerId="ADAL" clId="{8C32F8C7-D72A-4DCF-9616-202E88C17CAB}" dt="2021-09-02T10:23:39.797" v="5587" actId="478"/>
          <ac:picMkLst>
            <pc:docMk/>
            <pc:sldMk cId="4275616790" sldId="471"/>
            <ac:picMk id="18" creationId="{4368CBCE-DEE5-4C83-91CA-B30B8E0D4163}"/>
          </ac:picMkLst>
        </pc:picChg>
        <pc:cxnChg chg="add mod">
          <ac:chgData name="Timo Kern" userId="15d2a4cf-c5d2-4f5c-b758-120ba2c8c3b5" providerId="ADAL" clId="{8C32F8C7-D72A-4DCF-9616-202E88C17CAB}" dt="2021-09-02T10:22:50.590" v="5529"/>
          <ac:cxnSpMkLst>
            <pc:docMk/>
            <pc:sldMk cId="4275616790" sldId="471"/>
            <ac:cxnSpMk id="17" creationId="{10575394-A525-4B38-A294-B76850CEB4F8}"/>
          </ac:cxnSpMkLst>
        </pc:cxnChg>
      </pc:sldChg>
      <pc:sldChg chg="del">
        <pc:chgData name="Timo Kern" userId="15d2a4cf-c5d2-4f5c-b758-120ba2c8c3b5" providerId="ADAL" clId="{8C32F8C7-D72A-4DCF-9616-202E88C17CAB}" dt="2021-09-01T12:45:10.411" v="3747" actId="47"/>
        <pc:sldMkLst>
          <pc:docMk/>
          <pc:sldMk cId="137720400" sldId="472"/>
        </pc:sldMkLst>
      </pc:sldChg>
      <pc:sldChg chg="del">
        <pc:chgData name="Timo Kern" userId="15d2a4cf-c5d2-4f5c-b758-120ba2c8c3b5" providerId="ADAL" clId="{8C32F8C7-D72A-4DCF-9616-202E88C17CAB}" dt="2021-09-01T12:24:04.072" v="3162" actId="47"/>
        <pc:sldMkLst>
          <pc:docMk/>
          <pc:sldMk cId="1829330374" sldId="473"/>
        </pc:sldMkLst>
      </pc:sldChg>
      <pc:sldChg chg="del">
        <pc:chgData name="Timo Kern" userId="15d2a4cf-c5d2-4f5c-b758-120ba2c8c3b5" providerId="ADAL" clId="{8C32F8C7-D72A-4DCF-9616-202E88C17CAB}" dt="2021-09-01T12:24:04.072" v="3162" actId="47"/>
        <pc:sldMkLst>
          <pc:docMk/>
          <pc:sldMk cId="4049732724" sldId="474"/>
        </pc:sldMkLst>
      </pc:sldChg>
      <pc:sldChg chg="del">
        <pc:chgData name="Timo Kern" userId="15d2a4cf-c5d2-4f5c-b758-120ba2c8c3b5" providerId="ADAL" clId="{8C32F8C7-D72A-4DCF-9616-202E88C17CAB}" dt="2021-09-01T12:24:04.072" v="3162" actId="47"/>
        <pc:sldMkLst>
          <pc:docMk/>
          <pc:sldMk cId="1845050492" sldId="475"/>
        </pc:sldMkLst>
      </pc:sldChg>
      <pc:sldChg chg="addSp delSp modSp mod ord modClrScheme chgLayout">
        <pc:chgData name="Timo Kern" userId="15d2a4cf-c5d2-4f5c-b758-120ba2c8c3b5" providerId="ADAL" clId="{8C32F8C7-D72A-4DCF-9616-202E88C17CAB}" dt="2021-09-03T07:43:10.889" v="5601"/>
        <pc:sldMkLst>
          <pc:docMk/>
          <pc:sldMk cId="1424495893" sldId="476"/>
        </pc:sldMkLst>
        <pc:spChg chg="mod ord">
          <ac:chgData name="Timo Kern" userId="15d2a4cf-c5d2-4f5c-b758-120ba2c8c3b5" providerId="ADAL" clId="{8C32F8C7-D72A-4DCF-9616-202E88C17CAB}" dt="2021-09-01T12:29:19.160" v="3451" actId="20577"/>
          <ac:spMkLst>
            <pc:docMk/>
            <pc:sldMk cId="1424495893" sldId="476"/>
            <ac:spMk id="2" creationId="{00000000-0000-0000-0000-000000000000}"/>
          </ac:spMkLst>
        </pc:spChg>
        <pc:spChg chg="mod ord">
          <ac:chgData name="Timo Kern" userId="15d2a4cf-c5d2-4f5c-b758-120ba2c8c3b5" providerId="ADAL" clId="{8C32F8C7-D72A-4DCF-9616-202E88C17CAB}" dt="2021-09-01T12:24:23.624" v="3165" actId="700"/>
          <ac:spMkLst>
            <pc:docMk/>
            <pc:sldMk cId="1424495893" sldId="476"/>
            <ac:spMk id="3" creationId="{00000000-0000-0000-0000-000000000000}"/>
          </ac:spMkLst>
        </pc:spChg>
        <pc:spChg chg="add del mod">
          <ac:chgData name="Timo Kern" userId="15d2a4cf-c5d2-4f5c-b758-120ba2c8c3b5" providerId="ADAL" clId="{8C32F8C7-D72A-4DCF-9616-202E88C17CAB}" dt="2021-09-01T14:21:53.428" v="4554" actId="478"/>
          <ac:spMkLst>
            <pc:docMk/>
            <pc:sldMk cId="1424495893" sldId="476"/>
            <ac:spMk id="5" creationId="{27DAC5E9-F649-452F-B4BB-F450DA58E281}"/>
          </ac:spMkLst>
        </pc:spChg>
        <pc:spChg chg="del">
          <ac:chgData name="Timo Kern" userId="15d2a4cf-c5d2-4f5c-b758-120ba2c8c3b5" providerId="ADAL" clId="{8C32F8C7-D72A-4DCF-9616-202E88C17CAB}" dt="2021-09-01T12:26:43.719" v="3335" actId="478"/>
          <ac:spMkLst>
            <pc:docMk/>
            <pc:sldMk cId="1424495893" sldId="476"/>
            <ac:spMk id="6" creationId="{00000000-0000-0000-0000-000000000000}"/>
          </ac:spMkLst>
        </pc:spChg>
        <pc:spChg chg="del mod ord">
          <ac:chgData name="Timo Kern" userId="15d2a4cf-c5d2-4f5c-b758-120ba2c8c3b5" providerId="ADAL" clId="{8C32F8C7-D72A-4DCF-9616-202E88C17CAB}" dt="2021-09-01T14:21:50.478" v="4553" actId="478"/>
          <ac:spMkLst>
            <pc:docMk/>
            <pc:sldMk cId="1424495893" sldId="476"/>
            <ac:spMk id="9" creationId="{00000000-0000-0000-0000-000000000000}"/>
          </ac:spMkLst>
        </pc:spChg>
        <pc:spChg chg="add del mod">
          <ac:chgData name="Timo Kern" userId="15d2a4cf-c5d2-4f5c-b758-120ba2c8c3b5" providerId="ADAL" clId="{8C32F8C7-D72A-4DCF-9616-202E88C17CAB}" dt="2021-09-01T14:28:18.497" v="4760" actId="20577"/>
          <ac:spMkLst>
            <pc:docMk/>
            <pc:sldMk cId="1424495893" sldId="476"/>
            <ac:spMk id="10" creationId="{AF801E29-F1F0-4D29-909E-3D28F40EB583}"/>
          </ac:spMkLst>
        </pc:spChg>
        <pc:spChg chg="del">
          <ac:chgData name="Timo Kern" userId="15d2a4cf-c5d2-4f5c-b758-120ba2c8c3b5" providerId="ADAL" clId="{8C32F8C7-D72A-4DCF-9616-202E88C17CAB}" dt="2021-09-01T12:26:44.952" v="3336" actId="478"/>
          <ac:spMkLst>
            <pc:docMk/>
            <pc:sldMk cId="1424495893" sldId="476"/>
            <ac:spMk id="12" creationId="{00000000-0000-0000-0000-000000000000}"/>
          </ac:spMkLst>
        </pc:spChg>
        <pc:spChg chg="add mod">
          <ac:chgData name="Timo Kern" userId="15d2a4cf-c5d2-4f5c-b758-120ba2c8c3b5" providerId="ADAL" clId="{8C32F8C7-D72A-4DCF-9616-202E88C17CAB}" dt="2021-09-01T14:23:29.340" v="4594" actId="20577"/>
          <ac:spMkLst>
            <pc:docMk/>
            <pc:sldMk cId="1424495893" sldId="476"/>
            <ac:spMk id="13" creationId="{58F15C8D-0829-4DB2-B7DC-A817307C264A}"/>
          </ac:spMkLst>
        </pc:spChg>
        <pc:spChg chg="add mod">
          <ac:chgData name="Timo Kern" userId="15d2a4cf-c5d2-4f5c-b758-120ba2c8c3b5" providerId="ADAL" clId="{8C32F8C7-D72A-4DCF-9616-202E88C17CAB}" dt="2021-09-01T14:23:51.725" v="4609" actId="1038"/>
          <ac:spMkLst>
            <pc:docMk/>
            <pc:sldMk cId="1424495893" sldId="476"/>
            <ac:spMk id="14" creationId="{0DFFFEBB-2503-4C72-BC00-432F73024722}"/>
          </ac:spMkLst>
        </pc:spChg>
        <pc:graphicFrameChg chg="mod modGraphic">
          <ac:chgData name="Timo Kern" userId="15d2a4cf-c5d2-4f5c-b758-120ba2c8c3b5" providerId="ADAL" clId="{8C32F8C7-D72A-4DCF-9616-202E88C17CAB}" dt="2021-09-03T07:43:10.889" v="5601"/>
          <ac:graphicFrameMkLst>
            <pc:docMk/>
            <pc:sldMk cId="1424495893" sldId="476"/>
            <ac:graphicFrameMk id="8" creationId="{00000000-0000-0000-0000-000000000000}"/>
          </ac:graphicFrameMkLst>
        </pc:graphicFrameChg>
        <pc:picChg chg="add mod">
          <ac:chgData name="Timo Kern" userId="15d2a4cf-c5d2-4f5c-b758-120ba2c8c3b5" providerId="ADAL" clId="{8C32F8C7-D72A-4DCF-9616-202E88C17CAB}" dt="2021-09-01T14:23:12.475" v="4571" actId="14100"/>
          <ac:picMkLst>
            <pc:docMk/>
            <pc:sldMk cId="1424495893" sldId="476"/>
            <ac:picMk id="11" creationId="{3E8B50BF-6C60-4D61-A0FA-CCD700D4D846}"/>
          </ac:picMkLst>
        </pc:picChg>
      </pc:sldChg>
      <pc:sldChg chg="del ord">
        <pc:chgData name="Timo Kern" userId="15d2a4cf-c5d2-4f5c-b758-120ba2c8c3b5" providerId="ADAL" clId="{8C32F8C7-D72A-4DCF-9616-202E88C17CAB}" dt="2021-09-01T12:50:46.621" v="4047" actId="47"/>
        <pc:sldMkLst>
          <pc:docMk/>
          <pc:sldMk cId="3838221130" sldId="477"/>
        </pc:sldMkLst>
      </pc:sldChg>
      <pc:sldChg chg="del">
        <pc:chgData name="Timo Kern" userId="15d2a4cf-c5d2-4f5c-b758-120ba2c8c3b5" providerId="ADAL" clId="{8C32F8C7-D72A-4DCF-9616-202E88C17CAB}" dt="2021-09-03T07:43:33.003" v="5602" actId="47"/>
        <pc:sldMkLst>
          <pc:docMk/>
          <pc:sldMk cId="3827157495" sldId="478"/>
        </pc:sldMkLst>
      </pc:sldChg>
      <pc:sldChg chg="del">
        <pc:chgData name="Timo Kern" userId="15d2a4cf-c5d2-4f5c-b758-120ba2c8c3b5" providerId="ADAL" clId="{8C32F8C7-D72A-4DCF-9616-202E88C17CAB}" dt="2021-09-03T07:43:33.003" v="5602" actId="47"/>
        <pc:sldMkLst>
          <pc:docMk/>
          <pc:sldMk cId="896543184" sldId="479"/>
        </pc:sldMkLst>
      </pc:sldChg>
      <pc:sldChg chg="del">
        <pc:chgData name="Timo Kern" userId="15d2a4cf-c5d2-4f5c-b758-120ba2c8c3b5" providerId="ADAL" clId="{8C32F8C7-D72A-4DCF-9616-202E88C17CAB}" dt="2021-09-01T11:29:33.305" v="1558" actId="47"/>
        <pc:sldMkLst>
          <pc:docMk/>
          <pc:sldMk cId="636566478" sldId="480"/>
        </pc:sldMkLst>
      </pc:sldChg>
      <pc:sldChg chg="del">
        <pc:chgData name="Timo Kern" userId="15d2a4cf-c5d2-4f5c-b758-120ba2c8c3b5" providerId="ADAL" clId="{8C32F8C7-D72A-4DCF-9616-202E88C17CAB}" dt="2021-09-01T11:28:33.687" v="1547" actId="47"/>
        <pc:sldMkLst>
          <pc:docMk/>
          <pc:sldMk cId="1366228380" sldId="481"/>
        </pc:sldMkLst>
      </pc:sldChg>
      <pc:sldChg chg="del">
        <pc:chgData name="Timo Kern" userId="15d2a4cf-c5d2-4f5c-b758-120ba2c8c3b5" providerId="ADAL" clId="{8C32F8C7-D72A-4DCF-9616-202E88C17CAB}" dt="2021-09-01T11:28:36.587" v="1549" actId="47"/>
        <pc:sldMkLst>
          <pc:docMk/>
          <pc:sldMk cId="4144236270" sldId="483"/>
        </pc:sldMkLst>
      </pc:sldChg>
      <pc:sldChg chg="del">
        <pc:chgData name="Timo Kern" userId="15d2a4cf-c5d2-4f5c-b758-120ba2c8c3b5" providerId="ADAL" clId="{8C32F8C7-D72A-4DCF-9616-202E88C17CAB}" dt="2021-09-01T11:28:19.472" v="1546" actId="47"/>
        <pc:sldMkLst>
          <pc:docMk/>
          <pc:sldMk cId="452123522" sldId="484"/>
        </pc:sldMkLst>
      </pc:sldChg>
      <pc:sldChg chg="addSp delSp modSp mod ord modNotesTx">
        <pc:chgData name="Timo Kern" userId="15d2a4cf-c5d2-4f5c-b758-120ba2c8c3b5" providerId="ADAL" clId="{8C32F8C7-D72A-4DCF-9616-202E88C17CAB}" dt="2021-09-01T11:27:55.250" v="1542" actId="14100"/>
        <pc:sldMkLst>
          <pc:docMk/>
          <pc:sldMk cId="2498497958" sldId="485"/>
        </pc:sldMkLst>
        <pc:spChg chg="mod">
          <ac:chgData name="Timo Kern" userId="15d2a4cf-c5d2-4f5c-b758-120ba2c8c3b5" providerId="ADAL" clId="{8C32F8C7-D72A-4DCF-9616-202E88C17CAB}" dt="2021-09-01T11:26:12.346" v="1522" actId="20577"/>
          <ac:spMkLst>
            <pc:docMk/>
            <pc:sldMk cId="2498497958" sldId="485"/>
            <ac:spMk id="2" creationId="{00000000-0000-0000-0000-000000000000}"/>
          </ac:spMkLst>
        </pc:spChg>
        <pc:spChg chg="add del">
          <ac:chgData name="Timo Kern" userId="15d2a4cf-c5d2-4f5c-b758-120ba2c8c3b5" providerId="ADAL" clId="{8C32F8C7-D72A-4DCF-9616-202E88C17CAB}" dt="2021-09-01T08:11:44.048" v="630" actId="22"/>
          <ac:spMkLst>
            <pc:docMk/>
            <pc:sldMk cId="2498497958" sldId="485"/>
            <ac:spMk id="39" creationId="{22B2E4D4-B204-48D0-B2BD-921D9BD1E1A3}"/>
          </ac:spMkLst>
        </pc:spChg>
        <pc:spChg chg="mod">
          <ac:chgData name="Timo Kern" userId="15d2a4cf-c5d2-4f5c-b758-120ba2c8c3b5" providerId="ADAL" clId="{8C32F8C7-D72A-4DCF-9616-202E88C17CAB}" dt="2021-09-01T11:23:37.238" v="1175" actId="6549"/>
          <ac:spMkLst>
            <pc:docMk/>
            <pc:sldMk cId="2498497958" sldId="485"/>
            <ac:spMk id="58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18:51.995" v="775" actId="1035"/>
          <ac:spMkLst>
            <pc:docMk/>
            <pc:sldMk cId="2498497958" sldId="485"/>
            <ac:spMk id="59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24:31.610" v="1269" actId="20577"/>
          <ac:spMkLst>
            <pc:docMk/>
            <pc:sldMk cId="2498497958" sldId="485"/>
            <ac:spMk id="60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25:38.265" v="1424" actId="20577"/>
          <ac:spMkLst>
            <pc:docMk/>
            <pc:sldMk cId="2498497958" sldId="485"/>
            <ac:spMk id="64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18:51.995" v="775" actId="1035"/>
          <ac:spMkLst>
            <pc:docMk/>
            <pc:sldMk cId="2498497958" sldId="485"/>
            <ac:spMk id="65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24:42.164" v="1289" actId="20577"/>
          <ac:spMkLst>
            <pc:docMk/>
            <pc:sldMk cId="2498497958" sldId="485"/>
            <ac:spMk id="66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23:56.037" v="1230" actId="20577"/>
          <ac:spMkLst>
            <pc:docMk/>
            <pc:sldMk cId="2498497958" sldId="485"/>
            <ac:spMk id="68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24:36.849" v="1280" actId="20577"/>
          <ac:spMkLst>
            <pc:docMk/>
            <pc:sldMk cId="2498497958" sldId="485"/>
            <ac:spMk id="70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26:01.594" v="1487" actId="20577"/>
          <ac:spMkLst>
            <pc:docMk/>
            <pc:sldMk cId="2498497958" sldId="485"/>
            <ac:spMk id="74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27:12.169" v="1540" actId="20577"/>
          <ac:spMkLst>
            <pc:docMk/>
            <pc:sldMk cId="2498497958" sldId="485"/>
            <ac:spMk id="76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1:27:55.250" v="1542" actId="14100"/>
          <ac:spMkLst>
            <pc:docMk/>
            <pc:sldMk cId="2498497958" sldId="485"/>
            <ac:spMk id="83" creationId="{00000000-0000-0000-0000-000000000000}"/>
          </ac:spMkLst>
        </pc:spChg>
        <pc:grpChg chg="del">
          <ac:chgData name="Timo Kern" userId="15d2a4cf-c5d2-4f5c-b758-120ba2c8c3b5" providerId="ADAL" clId="{8C32F8C7-D72A-4DCF-9616-202E88C17CAB}" dt="2021-09-01T08:08:24.155" v="507" actId="478"/>
          <ac:grpSpMkLst>
            <pc:docMk/>
            <pc:sldMk cId="2498497958" sldId="485"/>
            <ac:grpSpMk id="77" creationId="{00000000-0000-0000-0000-000000000000}"/>
          </ac:grpSpMkLst>
        </pc:grpChg>
        <pc:picChg chg="mod">
          <ac:chgData name="Timo Kern" userId="15d2a4cf-c5d2-4f5c-b758-120ba2c8c3b5" providerId="ADAL" clId="{8C32F8C7-D72A-4DCF-9616-202E88C17CAB}" dt="2021-09-01T11:18:51.995" v="775" actId="1035"/>
          <ac:picMkLst>
            <pc:docMk/>
            <pc:sldMk cId="2498497958" sldId="485"/>
            <ac:picMk id="3" creationId="{00000000-0000-0000-0000-000000000000}"/>
          </ac:picMkLst>
        </pc:picChg>
        <pc:picChg chg="mod">
          <ac:chgData name="Timo Kern" userId="15d2a4cf-c5d2-4f5c-b758-120ba2c8c3b5" providerId="ADAL" clId="{8C32F8C7-D72A-4DCF-9616-202E88C17CAB}" dt="2021-09-01T11:18:51.995" v="775" actId="1035"/>
          <ac:picMkLst>
            <pc:docMk/>
            <pc:sldMk cId="2498497958" sldId="485"/>
            <ac:picMk id="5" creationId="{00000000-0000-0000-0000-000000000000}"/>
          </ac:picMkLst>
        </pc:picChg>
        <pc:picChg chg="del">
          <ac:chgData name="Timo Kern" userId="15d2a4cf-c5d2-4f5c-b758-120ba2c8c3b5" providerId="ADAL" clId="{8C32F8C7-D72A-4DCF-9616-202E88C17CAB}" dt="2021-09-01T08:08:24.155" v="507" actId="478"/>
          <ac:picMkLst>
            <pc:docMk/>
            <pc:sldMk cId="2498497958" sldId="485"/>
            <ac:picMk id="56" creationId="{00000000-0000-0000-0000-000000000000}"/>
          </ac:picMkLst>
        </pc:picChg>
      </pc:sldChg>
      <pc:sldChg chg="del">
        <pc:chgData name="Timo Kern" userId="15d2a4cf-c5d2-4f5c-b758-120ba2c8c3b5" providerId="ADAL" clId="{8C32F8C7-D72A-4DCF-9616-202E88C17CAB}" dt="2021-09-01T11:28:12.646" v="1543" actId="47"/>
        <pc:sldMkLst>
          <pc:docMk/>
          <pc:sldMk cId="194132100" sldId="486"/>
        </pc:sldMkLst>
      </pc:sldChg>
      <pc:sldChg chg="del">
        <pc:chgData name="Timo Kern" userId="15d2a4cf-c5d2-4f5c-b758-120ba2c8c3b5" providerId="ADAL" clId="{8C32F8C7-D72A-4DCF-9616-202E88C17CAB}" dt="2021-09-01T11:28:12.963" v="1544" actId="47"/>
        <pc:sldMkLst>
          <pc:docMk/>
          <pc:sldMk cId="1444982402" sldId="487"/>
        </pc:sldMkLst>
      </pc:sldChg>
      <pc:sldChg chg="del">
        <pc:chgData name="Timo Kern" userId="15d2a4cf-c5d2-4f5c-b758-120ba2c8c3b5" providerId="ADAL" clId="{8C32F8C7-D72A-4DCF-9616-202E88C17CAB}" dt="2021-09-01T11:28:13.866" v="1545" actId="47"/>
        <pc:sldMkLst>
          <pc:docMk/>
          <pc:sldMk cId="4279046970" sldId="488"/>
        </pc:sldMkLst>
      </pc:sldChg>
      <pc:sldChg chg="del">
        <pc:chgData name="Timo Kern" userId="15d2a4cf-c5d2-4f5c-b758-120ba2c8c3b5" providerId="ADAL" clId="{8C32F8C7-D72A-4DCF-9616-202E88C17CAB}" dt="2021-09-01T11:28:47.797" v="1550" actId="47"/>
        <pc:sldMkLst>
          <pc:docMk/>
          <pc:sldMk cId="4098571029" sldId="489"/>
        </pc:sldMkLst>
      </pc:sldChg>
      <pc:sldChg chg="del">
        <pc:chgData name="Timo Kern" userId="15d2a4cf-c5d2-4f5c-b758-120ba2c8c3b5" providerId="ADAL" clId="{8C32F8C7-D72A-4DCF-9616-202E88C17CAB}" dt="2021-09-01T11:28:49.288" v="1551" actId="47"/>
        <pc:sldMkLst>
          <pc:docMk/>
          <pc:sldMk cId="117075837" sldId="490"/>
        </pc:sldMkLst>
      </pc:sldChg>
      <pc:sldChg chg="del">
        <pc:chgData name="Timo Kern" userId="15d2a4cf-c5d2-4f5c-b758-120ba2c8c3b5" providerId="ADAL" clId="{8C32F8C7-D72A-4DCF-9616-202E88C17CAB}" dt="2021-09-01T11:28:52.012" v="1552" actId="47"/>
        <pc:sldMkLst>
          <pc:docMk/>
          <pc:sldMk cId="1179240495" sldId="491"/>
        </pc:sldMkLst>
      </pc:sldChg>
      <pc:sldChg chg="del">
        <pc:chgData name="Timo Kern" userId="15d2a4cf-c5d2-4f5c-b758-120ba2c8c3b5" providerId="ADAL" clId="{8C32F8C7-D72A-4DCF-9616-202E88C17CAB}" dt="2021-09-01T11:28:56.153" v="1553" actId="47"/>
        <pc:sldMkLst>
          <pc:docMk/>
          <pc:sldMk cId="748514201" sldId="492"/>
        </pc:sldMkLst>
      </pc:sldChg>
      <pc:sldChg chg="del">
        <pc:chgData name="Timo Kern" userId="15d2a4cf-c5d2-4f5c-b758-120ba2c8c3b5" providerId="ADAL" clId="{8C32F8C7-D72A-4DCF-9616-202E88C17CAB}" dt="2021-09-01T11:28:57.864" v="1554" actId="47"/>
        <pc:sldMkLst>
          <pc:docMk/>
          <pc:sldMk cId="1270567305" sldId="493"/>
        </pc:sldMkLst>
      </pc:sldChg>
      <pc:sldChg chg="del">
        <pc:chgData name="Timo Kern" userId="15d2a4cf-c5d2-4f5c-b758-120ba2c8c3b5" providerId="ADAL" clId="{8C32F8C7-D72A-4DCF-9616-202E88C17CAB}" dt="2021-09-01T11:29:02.243" v="1555" actId="47"/>
        <pc:sldMkLst>
          <pc:docMk/>
          <pc:sldMk cId="3311643863" sldId="494"/>
        </pc:sldMkLst>
      </pc:sldChg>
      <pc:sldChg chg="del">
        <pc:chgData name="Timo Kern" userId="15d2a4cf-c5d2-4f5c-b758-120ba2c8c3b5" providerId="ADAL" clId="{8C32F8C7-D72A-4DCF-9616-202E88C17CAB}" dt="2021-09-01T11:29:03.532" v="1556" actId="47"/>
        <pc:sldMkLst>
          <pc:docMk/>
          <pc:sldMk cId="2265230350" sldId="495"/>
        </pc:sldMkLst>
      </pc:sldChg>
      <pc:sldChg chg="del">
        <pc:chgData name="Timo Kern" userId="15d2a4cf-c5d2-4f5c-b758-120ba2c8c3b5" providerId="ADAL" clId="{8C32F8C7-D72A-4DCF-9616-202E88C17CAB}" dt="2021-09-01T11:29:13.557" v="1557" actId="47"/>
        <pc:sldMkLst>
          <pc:docMk/>
          <pc:sldMk cId="3483871311" sldId="496"/>
        </pc:sldMkLst>
      </pc:sldChg>
      <pc:sldChg chg="del">
        <pc:chgData name="Timo Kern" userId="15d2a4cf-c5d2-4f5c-b758-120ba2c8c3b5" providerId="ADAL" clId="{8C32F8C7-D72A-4DCF-9616-202E88C17CAB}" dt="2021-08-31T09:17:12.433" v="139" actId="47"/>
        <pc:sldMkLst>
          <pc:docMk/>
          <pc:sldMk cId="2134668859" sldId="499"/>
        </pc:sldMkLst>
      </pc:sldChg>
      <pc:sldChg chg="del">
        <pc:chgData name="Timo Kern" userId="15d2a4cf-c5d2-4f5c-b758-120ba2c8c3b5" providerId="ADAL" clId="{8C32F8C7-D72A-4DCF-9616-202E88C17CAB}" dt="2021-09-01T11:28:34.590" v="1548" actId="47"/>
        <pc:sldMkLst>
          <pc:docMk/>
          <pc:sldMk cId="2213859256" sldId="500"/>
        </pc:sldMkLst>
      </pc:sldChg>
      <pc:sldChg chg="addSp delSp modSp new del mod modClrScheme chgLayout">
        <pc:chgData name="Timo Kern" userId="15d2a4cf-c5d2-4f5c-b758-120ba2c8c3b5" providerId="ADAL" clId="{8C32F8C7-D72A-4DCF-9616-202E88C17CAB}" dt="2021-09-03T07:42:44.235" v="5600" actId="47"/>
        <pc:sldMkLst>
          <pc:docMk/>
          <pc:sldMk cId="3958652635" sldId="501"/>
        </pc:sldMkLst>
        <pc:spChg chg="del mod ord">
          <ac:chgData name="Timo Kern" userId="15d2a4cf-c5d2-4f5c-b758-120ba2c8c3b5" providerId="ADAL" clId="{8C32F8C7-D72A-4DCF-9616-202E88C17CAB}" dt="2021-08-31T09:21:40.350" v="209" actId="700"/>
          <ac:spMkLst>
            <pc:docMk/>
            <pc:sldMk cId="3958652635" sldId="501"/>
            <ac:spMk id="2" creationId="{839C3F5B-7BCF-4A7A-9F9D-5CC8D1A5E26A}"/>
          </ac:spMkLst>
        </pc:spChg>
        <pc:spChg chg="del">
          <ac:chgData name="Timo Kern" userId="15d2a4cf-c5d2-4f5c-b758-120ba2c8c3b5" providerId="ADAL" clId="{8C32F8C7-D72A-4DCF-9616-202E88C17CAB}" dt="2021-08-31T09:21:40.350" v="209" actId="700"/>
          <ac:spMkLst>
            <pc:docMk/>
            <pc:sldMk cId="3958652635" sldId="501"/>
            <ac:spMk id="3" creationId="{47FE50A7-6868-474C-8443-9D287F7B3542}"/>
          </ac:spMkLst>
        </pc:spChg>
        <pc:spChg chg="del">
          <ac:chgData name="Timo Kern" userId="15d2a4cf-c5d2-4f5c-b758-120ba2c8c3b5" providerId="ADAL" clId="{8C32F8C7-D72A-4DCF-9616-202E88C17CAB}" dt="2021-08-31T09:21:40.350" v="209" actId="700"/>
          <ac:spMkLst>
            <pc:docMk/>
            <pc:sldMk cId="3958652635" sldId="501"/>
            <ac:spMk id="4" creationId="{1BEED860-56A0-4C64-8DAB-8486C6E7E762}"/>
          </ac:spMkLst>
        </pc:spChg>
        <pc:spChg chg="del">
          <ac:chgData name="Timo Kern" userId="15d2a4cf-c5d2-4f5c-b758-120ba2c8c3b5" providerId="ADAL" clId="{8C32F8C7-D72A-4DCF-9616-202E88C17CAB}" dt="2021-08-31T09:21:40.350" v="209" actId="700"/>
          <ac:spMkLst>
            <pc:docMk/>
            <pc:sldMk cId="3958652635" sldId="501"/>
            <ac:spMk id="5" creationId="{9FF96434-D1FB-4952-9E94-E434FA6A7FBF}"/>
          </ac:spMkLst>
        </pc:spChg>
        <pc:spChg chg="del">
          <ac:chgData name="Timo Kern" userId="15d2a4cf-c5d2-4f5c-b758-120ba2c8c3b5" providerId="ADAL" clId="{8C32F8C7-D72A-4DCF-9616-202E88C17CAB}" dt="2021-08-31T09:21:40.350" v="209" actId="700"/>
          <ac:spMkLst>
            <pc:docMk/>
            <pc:sldMk cId="3958652635" sldId="501"/>
            <ac:spMk id="6" creationId="{B4E2C6B5-CD4E-4CFE-90B2-A53CAC6494F9}"/>
          </ac:spMkLst>
        </pc:spChg>
        <pc:spChg chg="add mod ord">
          <ac:chgData name="Timo Kern" userId="15d2a4cf-c5d2-4f5c-b758-120ba2c8c3b5" providerId="ADAL" clId="{8C32F8C7-D72A-4DCF-9616-202E88C17CAB}" dt="2021-08-31T09:21:40.350" v="209" actId="700"/>
          <ac:spMkLst>
            <pc:docMk/>
            <pc:sldMk cId="3958652635" sldId="501"/>
            <ac:spMk id="7" creationId="{7E0570D8-4179-4104-9C26-A07778DFA60D}"/>
          </ac:spMkLst>
        </pc:spChg>
        <pc:spChg chg="add mod ord">
          <ac:chgData name="Timo Kern" userId="15d2a4cf-c5d2-4f5c-b758-120ba2c8c3b5" providerId="ADAL" clId="{8C32F8C7-D72A-4DCF-9616-202E88C17CAB}" dt="2021-08-31T09:21:40.350" v="209" actId="700"/>
          <ac:spMkLst>
            <pc:docMk/>
            <pc:sldMk cId="3958652635" sldId="501"/>
            <ac:spMk id="8" creationId="{6CD19A94-A5EA-4FE6-83DF-2210CCE2C22E}"/>
          </ac:spMkLst>
        </pc:spChg>
        <pc:spChg chg="add mod">
          <ac:chgData name="Timo Kern" userId="15d2a4cf-c5d2-4f5c-b758-120ba2c8c3b5" providerId="ADAL" clId="{8C32F8C7-D72A-4DCF-9616-202E88C17CAB}" dt="2021-08-31T09:22:12.427" v="227" actId="20577"/>
          <ac:spMkLst>
            <pc:docMk/>
            <pc:sldMk cId="3958652635" sldId="501"/>
            <ac:spMk id="9" creationId="{11CD29C9-C5EB-4D48-98FD-5E9F1578D4BE}"/>
          </ac:spMkLst>
        </pc:spChg>
      </pc:sldChg>
      <pc:sldChg chg="addSp delSp modSp add mod">
        <pc:chgData name="Timo Kern" userId="15d2a4cf-c5d2-4f5c-b758-120ba2c8c3b5" providerId="ADAL" clId="{8C32F8C7-D72A-4DCF-9616-202E88C17CAB}" dt="2021-09-01T12:37:49.744" v="3697" actId="20577"/>
        <pc:sldMkLst>
          <pc:docMk/>
          <pc:sldMk cId="1061531308" sldId="502"/>
        </pc:sldMkLst>
        <pc:spChg chg="mod">
          <ac:chgData name="Timo Kern" userId="15d2a4cf-c5d2-4f5c-b758-120ba2c8c3b5" providerId="ADAL" clId="{8C32F8C7-D72A-4DCF-9616-202E88C17CAB}" dt="2021-09-01T12:12:33.550" v="2691"/>
          <ac:spMkLst>
            <pc:docMk/>
            <pc:sldMk cId="1061531308" sldId="502"/>
            <ac:spMk id="2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2:37:49.744" v="3697" actId="20577"/>
          <ac:spMkLst>
            <pc:docMk/>
            <pc:sldMk cId="1061531308" sldId="502"/>
            <ac:spMk id="7" creationId="{29C8329D-11ED-4815-9834-9DA759BF8830}"/>
          </ac:spMkLst>
        </pc:spChg>
        <pc:spChg chg="mod">
          <ac:chgData name="Timo Kern" userId="15d2a4cf-c5d2-4f5c-b758-120ba2c8c3b5" providerId="ADAL" clId="{8C32F8C7-D72A-4DCF-9616-202E88C17CAB}" dt="2021-09-01T12:13:56.608" v="2851" actId="20577"/>
          <ac:spMkLst>
            <pc:docMk/>
            <pc:sldMk cId="1061531308" sldId="502"/>
            <ac:spMk id="10" creationId="{01CC495E-075F-41F6-8F90-4F1C5F9A82C3}"/>
          </ac:spMkLst>
        </pc:spChg>
        <pc:spChg chg="mod">
          <ac:chgData name="Timo Kern" userId="15d2a4cf-c5d2-4f5c-b758-120ba2c8c3b5" providerId="ADAL" clId="{8C32F8C7-D72A-4DCF-9616-202E88C17CAB}" dt="2021-09-01T12:16:13.632" v="2977" actId="554"/>
          <ac:spMkLst>
            <pc:docMk/>
            <pc:sldMk cId="1061531308" sldId="502"/>
            <ac:spMk id="15" creationId="{3EA93273-336A-4FF7-92D0-55D327EC2425}"/>
          </ac:spMkLst>
        </pc:spChg>
        <pc:spChg chg="mod">
          <ac:chgData name="Timo Kern" userId="15d2a4cf-c5d2-4f5c-b758-120ba2c8c3b5" providerId="ADAL" clId="{8C32F8C7-D72A-4DCF-9616-202E88C17CAB}" dt="2021-09-01T12:15:18.337" v="2929" actId="1037"/>
          <ac:spMkLst>
            <pc:docMk/>
            <pc:sldMk cId="1061531308" sldId="502"/>
            <ac:spMk id="16" creationId="{C299EA3A-FE2D-4FBD-965D-A783AE9F8E82}"/>
          </ac:spMkLst>
        </pc:spChg>
        <pc:spChg chg="mod">
          <ac:chgData name="Timo Kern" userId="15d2a4cf-c5d2-4f5c-b758-120ba2c8c3b5" providerId="ADAL" clId="{8C32F8C7-D72A-4DCF-9616-202E88C17CAB}" dt="2021-09-01T12:14:53.801" v="2903" actId="1037"/>
          <ac:spMkLst>
            <pc:docMk/>
            <pc:sldMk cId="1061531308" sldId="502"/>
            <ac:spMk id="17" creationId="{D4C84993-7BEE-4060-8CC5-4EB5B0A29219}"/>
          </ac:spMkLst>
        </pc:spChg>
        <pc:spChg chg="del">
          <ac:chgData name="Timo Kern" userId="15d2a4cf-c5d2-4f5c-b758-120ba2c8c3b5" providerId="ADAL" clId="{8C32F8C7-D72A-4DCF-9616-202E88C17CAB}" dt="2021-09-01T12:14:44.663" v="2894" actId="478"/>
          <ac:spMkLst>
            <pc:docMk/>
            <pc:sldMk cId="1061531308" sldId="502"/>
            <ac:spMk id="18" creationId="{FB096188-7947-466A-9849-1528755A74ED}"/>
          </ac:spMkLst>
        </pc:spChg>
        <pc:spChg chg="del">
          <ac:chgData name="Timo Kern" userId="15d2a4cf-c5d2-4f5c-b758-120ba2c8c3b5" providerId="ADAL" clId="{8C32F8C7-D72A-4DCF-9616-202E88C17CAB}" dt="2021-09-01T12:14:44.663" v="2894" actId="478"/>
          <ac:spMkLst>
            <pc:docMk/>
            <pc:sldMk cId="1061531308" sldId="502"/>
            <ac:spMk id="19" creationId="{398DA039-C006-4D3F-A5B4-DD7A06F49357}"/>
          </ac:spMkLst>
        </pc:spChg>
        <pc:spChg chg="del">
          <ac:chgData name="Timo Kern" userId="15d2a4cf-c5d2-4f5c-b758-120ba2c8c3b5" providerId="ADAL" clId="{8C32F8C7-D72A-4DCF-9616-202E88C17CAB}" dt="2021-09-01T12:14:44.663" v="2894" actId="478"/>
          <ac:spMkLst>
            <pc:docMk/>
            <pc:sldMk cId="1061531308" sldId="502"/>
            <ac:spMk id="20" creationId="{8E035945-A807-42FC-A1C9-D985FFA0A69B}"/>
          </ac:spMkLst>
        </pc:spChg>
        <pc:spChg chg="del">
          <ac:chgData name="Timo Kern" userId="15d2a4cf-c5d2-4f5c-b758-120ba2c8c3b5" providerId="ADAL" clId="{8C32F8C7-D72A-4DCF-9616-202E88C17CAB}" dt="2021-09-01T12:14:44.663" v="2894" actId="478"/>
          <ac:spMkLst>
            <pc:docMk/>
            <pc:sldMk cId="1061531308" sldId="502"/>
            <ac:spMk id="21" creationId="{E256C4B5-346F-4D22-97CD-4B7601ED1199}"/>
          </ac:spMkLst>
        </pc:spChg>
        <pc:spChg chg="add mod">
          <ac:chgData name="Timo Kern" userId="15d2a4cf-c5d2-4f5c-b758-120ba2c8c3b5" providerId="ADAL" clId="{8C32F8C7-D72A-4DCF-9616-202E88C17CAB}" dt="2021-09-01T12:15:11.129" v="2920" actId="1038"/>
          <ac:spMkLst>
            <pc:docMk/>
            <pc:sldMk cId="1061531308" sldId="502"/>
            <ac:spMk id="23" creationId="{643906E5-1922-4A60-B007-03F2F8341173}"/>
          </ac:spMkLst>
        </pc:spChg>
        <pc:spChg chg="add mod">
          <ac:chgData name="Timo Kern" userId="15d2a4cf-c5d2-4f5c-b758-120ba2c8c3b5" providerId="ADAL" clId="{8C32F8C7-D72A-4DCF-9616-202E88C17CAB}" dt="2021-09-01T12:16:13.632" v="2977" actId="554"/>
          <ac:spMkLst>
            <pc:docMk/>
            <pc:sldMk cId="1061531308" sldId="502"/>
            <ac:spMk id="24" creationId="{E945D5A3-8A3C-420F-B9B0-D4EC20F60729}"/>
          </ac:spMkLst>
        </pc:spChg>
        <pc:picChg chg="del">
          <ac:chgData name="Timo Kern" userId="15d2a4cf-c5d2-4f5c-b758-120ba2c8c3b5" providerId="ADAL" clId="{8C32F8C7-D72A-4DCF-9616-202E88C17CAB}" dt="2021-09-01T12:12:54.703" v="2696" actId="478"/>
          <ac:picMkLst>
            <pc:docMk/>
            <pc:sldMk cId="1061531308" sldId="502"/>
            <ac:picMk id="5" creationId="{00000000-0000-0000-0000-000000000000}"/>
          </ac:picMkLst>
        </pc:picChg>
        <pc:picChg chg="add mod ord">
          <ac:chgData name="Timo Kern" userId="15d2a4cf-c5d2-4f5c-b758-120ba2c8c3b5" providerId="ADAL" clId="{8C32F8C7-D72A-4DCF-9616-202E88C17CAB}" dt="2021-09-01T12:15:24.705" v="2931" actId="1076"/>
          <ac:picMkLst>
            <pc:docMk/>
            <pc:sldMk cId="1061531308" sldId="502"/>
            <ac:picMk id="22" creationId="{D7A730F0-C1BA-4FFB-B004-34B94A94D557}"/>
          </ac:picMkLst>
        </pc:picChg>
      </pc:sldChg>
      <pc:sldChg chg="new del">
        <pc:chgData name="Timo Kern" userId="15d2a4cf-c5d2-4f5c-b758-120ba2c8c3b5" providerId="ADAL" clId="{8C32F8C7-D72A-4DCF-9616-202E88C17CAB}" dt="2021-09-01T11:18:59.467" v="776" actId="47"/>
        <pc:sldMkLst>
          <pc:docMk/>
          <pc:sldMk cId="3964558676" sldId="502"/>
        </pc:sldMkLst>
      </pc:sldChg>
      <pc:sldChg chg="addSp delSp modSp add del mod">
        <pc:chgData name="Timo Kern" userId="15d2a4cf-c5d2-4f5c-b758-120ba2c8c3b5" providerId="ADAL" clId="{8C32F8C7-D72A-4DCF-9616-202E88C17CAB}" dt="2021-09-01T12:19:35.012" v="3154" actId="47"/>
        <pc:sldMkLst>
          <pc:docMk/>
          <pc:sldMk cId="3117809400" sldId="503"/>
        </pc:sldMkLst>
        <pc:spChg chg="add del mod">
          <ac:chgData name="Timo Kern" userId="15d2a4cf-c5d2-4f5c-b758-120ba2c8c3b5" providerId="ADAL" clId="{8C32F8C7-D72A-4DCF-9616-202E88C17CAB}" dt="2021-09-01T12:19:33.791" v="3153" actId="478"/>
          <ac:spMkLst>
            <pc:docMk/>
            <pc:sldMk cId="3117809400" sldId="503"/>
            <ac:spMk id="4" creationId="{CB34DEAD-5352-41DE-840C-AB2D218D90A9}"/>
          </ac:spMkLst>
        </pc:spChg>
      </pc:sldChg>
      <pc:sldChg chg="addSp delSp modSp add mod ord">
        <pc:chgData name="Timo Kern" userId="15d2a4cf-c5d2-4f5c-b758-120ba2c8c3b5" providerId="ADAL" clId="{8C32F8C7-D72A-4DCF-9616-202E88C17CAB}" dt="2021-09-01T14:10:57.869" v="4528" actId="20577"/>
        <pc:sldMkLst>
          <pc:docMk/>
          <pc:sldMk cId="3837481177" sldId="503"/>
        </pc:sldMkLst>
        <pc:spChg chg="mod">
          <ac:chgData name="Timo Kern" userId="15d2a4cf-c5d2-4f5c-b758-120ba2c8c3b5" providerId="ADAL" clId="{8C32F8C7-D72A-4DCF-9616-202E88C17CAB}" dt="2021-09-01T12:50:40.487" v="4046" actId="20577"/>
          <ac:spMkLst>
            <pc:docMk/>
            <pc:sldMk cId="3837481177" sldId="503"/>
            <ac:spMk id="2" creationId="{00000000-0000-0000-0000-000000000000}"/>
          </ac:spMkLst>
        </pc:spChg>
        <pc:spChg chg="mod">
          <ac:chgData name="Timo Kern" userId="15d2a4cf-c5d2-4f5c-b758-120ba2c8c3b5" providerId="ADAL" clId="{8C32F8C7-D72A-4DCF-9616-202E88C17CAB}" dt="2021-09-01T14:10:57.869" v="4528" actId="20577"/>
          <ac:spMkLst>
            <pc:docMk/>
            <pc:sldMk cId="3837481177" sldId="503"/>
            <ac:spMk id="7" creationId="{29C8329D-11ED-4815-9834-9DA759BF8830}"/>
          </ac:spMkLst>
        </pc:spChg>
        <pc:spChg chg="mod">
          <ac:chgData name="Timo Kern" userId="15d2a4cf-c5d2-4f5c-b758-120ba2c8c3b5" providerId="ADAL" clId="{8C32F8C7-D72A-4DCF-9616-202E88C17CAB}" dt="2021-09-01T12:48:29.151" v="3953" actId="20577"/>
          <ac:spMkLst>
            <pc:docMk/>
            <pc:sldMk cId="3837481177" sldId="503"/>
            <ac:spMk id="10" creationId="{01CC495E-075F-41F6-8F90-4F1C5F9A82C3}"/>
          </ac:spMkLst>
        </pc:spChg>
        <pc:spChg chg="add del mod">
          <ac:chgData name="Timo Kern" userId="15d2a4cf-c5d2-4f5c-b758-120ba2c8c3b5" providerId="ADAL" clId="{8C32F8C7-D72A-4DCF-9616-202E88C17CAB}" dt="2021-09-01T12:46:42.215" v="3834" actId="1035"/>
          <ac:spMkLst>
            <pc:docMk/>
            <pc:sldMk cId="3837481177" sldId="503"/>
            <ac:spMk id="14" creationId="{93C5FC21-171A-459B-A089-51E6252B7F7F}"/>
          </ac:spMkLst>
        </pc:spChg>
        <pc:spChg chg="mod">
          <ac:chgData name="Timo Kern" userId="15d2a4cf-c5d2-4f5c-b758-120ba2c8c3b5" providerId="ADAL" clId="{8C32F8C7-D72A-4DCF-9616-202E88C17CAB}" dt="2021-09-01T12:48:06.729" v="3879" actId="554"/>
          <ac:spMkLst>
            <pc:docMk/>
            <pc:sldMk cId="3837481177" sldId="503"/>
            <ac:spMk id="15" creationId="{3EA93273-336A-4FF7-92D0-55D327EC2425}"/>
          </ac:spMkLst>
        </pc:spChg>
        <pc:spChg chg="del">
          <ac:chgData name="Timo Kern" userId="15d2a4cf-c5d2-4f5c-b758-120ba2c8c3b5" providerId="ADAL" clId="{8C32F8C7-D72A-4DCF-9616-202E88C17CAB}" dt="2021-09-01T12:45:49.031" v="3758" actId="478"/>
          <ac:spMkLst>
            <pc:docMk/>
            <pc:sldMk cId="3837481177" sldId="503"/>
            <ac:spMk id="16" creationId="{C299EA3A-FE2D-4FBD-965D-A783AE9F8E82}"/>
          </ac:spMkLst>
        </pc:spChg>
        <pc:spChg chg="add mod">
          <ac:chgData name="Timo Kern" userId="15d2a4cf-c5d2-4f5c-b758-120ba2c8c3b5" providerId="ADAL" clId="{8C32F8C7-D72A-4DCF-9616-202E88C17CAB}" dt="2021-09-01T12:48:06.729" v="3879" actId="554"/>
          <ac:spMkLst>
            <pc:docMk/>
            <pc:sldMk cId="3837481177" sldId="503"/>
            <ac:spMk id="19" creationId="{C5951005-98D1-4FB3-B8BA-FFB0FEBFC7C5}"/>
          </ac:spMkLst>
        </pc:spChg>
        <pc:spChg chg="add mod">
          <ac:chgData name="Timo Kern" userId="15d2a4cf-c5d2-4f5c-b758-120ba2c8c3b5" providerId="ADAL" clId="{8C32F8C7-D72A-4DCF-9616-202E88C17CAB}" dt="2021-09-01T12:48:06.729" v="3879" actId="554"/>
          <ac:spMkLst>
            <pc:docMk/>
            <pc:sldMk cId="3837481177" sldId="503"/>
            <ac:spMk id="20" creationId="{58D951F4-2634-44DA-95EE-6FC25D6ABDF7}"/>
          </ac:spMkLst>
        </pc:spChg>
        <pc:spChg chg="add mod">
          <ac:chgData name="Timo Kern" userId="15d2a4cf-c5d2-4f5c-b758-120ba2c8c3b5" providerId="ADAL" clId="{8C32F8C7-D72A-4DCF-9616-202E88C17CAB}" dt="2021-09-01T12:54:50.853" v="4290" actId="14100"/>
          <ac:spMkLst>
            <pc:docMk/>
            <pc:sldMk cId="3837481177" sldId="503"/>
            <ac:spMk id="21" creationId="{A9F60A01-D30D-43A5-9660-4B69A71ED272}"/>
          </ac:spMkLst>
        </pc:spChg>
        <pc:spChg chg="del">
          <ac:chgData name="Timo Kern" userId="15d2a4cf-c5d2-4f5c-b758-120ba2c8c3b5" providerId="ADAL" clId="{8C32F8C7-D72A-4DCF-9616-202E88C17CAB}" dt="2021-09-01T12:45:47.038" v="3757" actId="478"/>
          <ac:spMkLst>
            <pc:docMk/>
            <pc:sldMk cId="3837481177" sldId="503"/>
            <ac:spMk id="23" creationId="{643906E5-1922-4A60-B007-03F2F8341173}"/>
          </ac:spMkLst>
        </pc:spChg>
        <pc:spChg chg="del">
          <ac:chgData name="Timo Kern" userId="15d2a4cf-c5d2-4f5c-b758-120ba2c8c3b5" providerId="ADAL" clId="{8C32F8C7-D72A-4DCF-9616-202E88C17CAB}" dt="2021-09-01T12:47:24.478" v="3874" actId="478"/>
          <ac:spMkLst>
            <pc:docMk/>
            <pc:sldMk cId="3837481177" sldId="503"/>
            <ac:spMk id="24" creationId="{E945D5A3-8A3C-420F-B9B0-D4EC20F60729}"/>
          </ac:spMkLst>
        </pc:spChg>
        <pc:spChg chg="add mod">
          <ac:chgData name="Timo Kern" userId="15d2a4cf-c5d2-4f5c-b758-120ba2c8c3b5" providerId="ADAL" clId="{8C32F8C7-D72A-4DCF-9616-202E88C17CAB}" dt="2021-09-01T12:54:33.126" v="4282" actId="1037"/>
          <ac:spMkLst>
            <pc:docMk/>
            <pc:sldMk cId="3837481177" sldId="503"/>
            <ac:spMk id="25" creationId="{6D26EB9A-3B0F-4556-8E50-A2A5F432F106}"/>
          </ac:spMkLst>
        </pc:spChg>
        <pc:spChg chg="add mod">
          <ac:chgData name="Timo Kern" userId="15d2a4cf-c5d2-4f5c-b758-120ba2c8c3b5" providerId="ADAL" clId="{8C32F8C7-D72A-4DCF-9616-202E88C17CAB}" dt="2021-09-01T12:54:33.126" v="4282" actId="1037"/>
          <ac:spMkLst>
            <pc:docMk/>
            <pc:sldMk cId="3837481177" sldId="503"/>
            <ac:spMk id="26" creationId="{BB8610FF-D6A9-405C-A32F-DE4B4A7E8B0B}"/>
          </ac:spMkLst>
        </pc:spChg>
        <pc:spChg chg="add mod">
          <ac:chgData name="Timo Kern" userId="15d2a4cf-c5d2-4f5c-b758-120ba2c8c3b5" providerId="ADAL" clId="{8C32F8C7-D72A-4DCF-9616-202E88C17CAB}" dt="2021-09-01T12:54:59.511" v="4292" actId="20577"/>
          <ac:spMkLst>
            <pc:docMk/>
            <pc:sldMk cId="3837481177" sldId="503"/>
            <ac:spMk id="27" creationId="{0F64E9FB-8BF9-49C5-954C-669A2BEE3CF8}"/>
          </ac:spMkLst>
        </pc:spChg>
        <pc:spChg chg="add del mod">
          <ac:chgData name="Timo Kern" userId="15d2a4cf-c5d2-4f5c-b758-120ba2c8c3b5" providerId="ADAL" clId="{8C32F8C7-D72A-4DCF-9616-202E88C17CAB}" dt="2021-09-01T12:54:06.278" v="4213" actId="478"/>
          <ac:spMkLst>
            <pc:docMk/>
            <pc:sldMk cId="3837481177" sldId="503"/>
            <ac:spMk id="28" creationId="{499D3A05-4BC8-4AE6-8606-59CF33071393}"/>
          </ac:spMkLst>
        </pc:spChg>
        <pc:spChg chg="add del mod">
          <ac:chgData name="Timo Kern" userId="15d2a4cf-c5d2-4f5c-b758-120ba2c8c3b5" providerId="ADAL" clId="{8C32F8C7-D72A-4DCF-9616-202E88C17CAB}" dt="2021-09-01T12:54:05.071" v="4212" actId="478"/>
          <ac:spMkLst>
            <pc:docMk/>
            <pc:sldMk cId="3837481177" sldId="503"/>
            <ac:spMk id="29" creationId="{3688667A-445A-476D-932E-9489F0F8B03D}"/>
          </ac:spMkLst>
        </pc:spChg>
        <pc:picChg chg="add mod ord">
          <ac:chgData name="Timo Kern" userId="15d2a4cf-c5d2-4f5c-b758-120ba2c8c3b5" providerId="ADAL" clId="{8C32F8C7-D72A-4DCF-9616-202E88C17CAB}" dt="2021-09-01T12:45:38.750" v="3756" actId="1076"/>
          <ac:picMkLst>
            <pc:docMk/>
            <pc:sldMk cId="3837481177" sldId="503"/>
            <ac:picMk id="18" creationId="{A5E3023D-6D07-4A17-953E-54C8C51A39BF}"/>
          </ac:picMkLst>
        </pc:picChg>
        <pc:picChg chg="del">
          <ac:chgData name="Timo Kern" userId="15d2a4cf-c5d2-4f5c-b758-120ba2c8c3b5" providerId="ADAL" clId="{8C32F8C7-D72A-4DCF-9616-202E88C17CAB}" dt="2021-09-01T12:45:31.435" v="3754" actId="478"/>
          <ac:picMkLst>
            <pc:docMk/>
            <pc:sldMk cId="3837481177" sldId="503"/>
            <ac:picMk id="22" creationId="{D7A730F0-C1BA-4FFB-B004-34B94A94D557}"/>
          </ac:picMkLst>
        </pc:picChg>
      </pc:sldChg>
      <pc:sldChg chg="addSp delSp modSp add mod">
        <pc:chgData name="Timo Kern" userId="15d2a4cf-c5d2-4f5c-b758-120ba2c8c3b5" providerId="ADAL" clId="{8C32F8C7-D72A-4DCF-9616-202E88C17CAB}" dt="2021-09-01T14:29:29.072" v="4848"/>
        <pc:sldMkLst>
          <pc:docMk/>
          <pc:sldMk cId="803375607" sldId="504"/>
        </pc:sldMkLst>
        <pc:spChg chg="mod">
          <ac:chgData name="Timo Kern" userId="15d2a4cf-c5d2-4f5c-b758-120ba2c8c3b5" providerId="ADAL" clId="{8C32F8C7-D72A-4DCF-9616-202E88C17CAB}" dt="2021-09-01T14:28:43.083" v="4817" actId="20577"/>
          <ac:spMkLst>
            <pc:docMk/>
            <pc:sldMk cId="803375607" sldId="504"/>
            <ac:spMk id="10" creationId="{AF801E29-F1F0-4D29-909E-3D28F40EB583}"/>
          </ac:spMkLst>
        </pc:spChg>
        <pc:spChg chg="mod">
          <ac:chgData name="Timo Kern" userId="15d2a4cf-c5d2-4f5c-b758-120ba2c8c3b5" providerId="ADAL" clId="{8C32F8C7-D72A-4DCF-9616-202E88C17CAB}" dt="2021-09-01T14:26:10.300" v="4629" actId="20577"/>
          <ac:spMkLst>
            <pc:docMk/>
            <pc:sldMk cId="803375607" sldId="504"/>
            <ac:spMk id="13" creationId="{58F15C8D-0829-4DB2-B7DC-A817307C264A}"/>
          </ac:spMkLst>
        </pc:spChg>
        <pc:graphicFrameChg chg="mod modGraphic">
          <ac:chgData name="Timo Kern" userId="15d2a4cf-c5d2-4f5c-b758-120ba2c8c3b5" providerId="ADAL" clId="{8C32F8C7-D72A-4DCF-9616-202E88C17CAB}" dt="2021-09-01T14:29:29.072" v="4848"/>
          <ac:graphicFrameMkLst>
            <pc:docMk/>
            <pc:sldMk cId="803375607" sldId="504"/>
            <ac:graphicFrameMk id="8" creationId="{00000000-0000-0000-0000-000000000000}"/>
          </ac:graphicFrameMkLst>
        </pc:graphicFrameChg>
        <pc:picChg chg="add mod ord">
          <ac:chgData name="Timo Kern" userId="15d2a4cf-c5d2-4f5c-b758-120ba2c8c3b5" providerId="ADAL" clId="{8C32F8C7-D72A-4DCF-9616-202E88C17CAB}" dt="2021-09-01T14:26:03.613" v="4616" actId="167"/>
          <ac:picMkLst>
            <pc:docMk/>
            <pc:sldMk cId="803375607" sldId="504"/>
            <ac:picMk id="9" creationId="{0D66B9A1-CA45-4EF6-A793-E128D4AC64A5}"/>
          </ac:picMkLst>
        </pc:picChg>
        <pc:picChg chg="del mod">
          <ac:chgData name="Timo Kern" userId="15d2a4cf-c5d2-4f5c-b758-120ba2c8c3b5" providerId="ADAL" clId="{8C32F8C7-D72A-4DCF-9616-202E88C17CAB}" dt="2021-09-01T14:26:04.468" v="4617" actId="478"/>
          <ac:picMkLst>
            <pc:docMk/>
            <pc:sldMk cId="803375607" sldId="504"/>
            <ac:picMk id="11" creationId="{3E8B50BF-6C60-4D61-A0FA-CCD700D4D846}"/>
          </ac:picMkLst>
        </pc:picChg>
      </pc:sldChg>
      <pc:sldChg chg="modSp new mod">
        <pc:chgData name="Timo Kern" userId="15d2a4cf-c5d2-4f5c-b758-120ba2c8c3b5" providerId="ADAL" clId="{8C32F8C7-D72A-4DCF-9616-202E88C17CAB}" dt="2021-09-03T07:43:43.926" v="5643" actId="20577"/>
        <pc:sldMkLst>
          <pc:docMk/>
          <pc:sldMk cId="2566680498" sldId="505"/>
        </pc:sldMkLst>
        <pc:spChg chg="mod">
          <ac:chgData name="Timo Kern" userId="15d2a4cf-c5d2-4f5c-b758-120ba2c8c3b5" providerId="ADAL" clId="{8C32F8C7-D72A-4DCF-9616-202E88C17CAB}" dt="2021-09-03T07:43:43.926" v="5643" actId="20577"/>
          <ac:spMkLst>
            <pc:docMk/>
            <pc:sldMk cId="2566680498" sldId="505"/>
            <ac:spMk id="3" creationId="{B4228015-58CF-46E1-8254-D1ACCD952FF2}"/>
          </ac:spMkLst>
        </pc:spChg>
      </pc:sldChg>
      <pc:sldMasterChg chg="delSldLayout">
        <pc:chgData name="Timo Kern" userId="15d2a4cf-c5d2-4f5c-b758-120ba2c8c3b5" providerId="ADAL" clId="{8C32F8C7-D72A-4DCF-9616-202E88C17CAB}" dt="2021-09-03T07:43:33.003" v="5602" actId="47"/>
        <pc:sldMasterMkLst>
          <pc:docMk/>
          <pc:sldMasterMk cId="2763450059" sldId="2147483674"/>
        </pc:sldMasterMkLst>
        <pc:sldLayoutChg chg="del">
          <pc:chgData name="Timo Kern" userId="15d2a4cf-c5d2-4f5c-b758-120ba2c8c3b5" providerId="ADAL" clId="{8C32F8C7-D72A-4DCF-9616-202E88C17CAB}" dt="2021-09-03T07:43:33.003" v="5602" actId="47"/>
          <pc:sldLayoutMkLst>
            <pc:docMk/>
            <pc:sldMasterMk cId="2763450059" sldId="2147483674"/>
            <pc:sldLayoutMk cId="1928788399" sldId="2147483746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Segoe UI Semilight" panose="020B0402040204020203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3C1EA4-63B5-4229-A44B-02A494E1EF2B}" type="datetimeFigureOut">
              <a:rPr lang="de-DE" smtClean="0">
                <a:latin typeface="Segoe UI Semilight" panose="020B0402040204020203" pitchFamily="34" charset="0"/>
              </a:rPr>
              <a:t>07.09.2021</a:t>
            </a:fld>
            <a:endParaRPr lang="de-DE">
              <a:latin typeface="Segoe UI Semilight" panose="020B0402040204020203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Segoe UI Semilight" panose="020B0402040204020203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0CB5F2-D46B-4735-8284-7144E7F9EBDC}" type="slidenum">
              <a:rPr lang="de-DE" smtClean="0">
                <a:latin typeface="Segoe UI Semilight" panose="020B0402040204020203" pitchFamily="34" charset="0"/>
              </a:rPr>
              <a:t>‹Nr.›</a:t>
            </a:fld>
            <a:endParaRPr lang="de-DE">
              <a:latin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3133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 Semilight" panose="020B04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 Semilight" panose="020B0402040204020203" pitchFamily="34" charset="0"/>
              </a:defRPr>
            </a:lvl1pPr>
          </a:lstStyle>
          <a:p>
            <a:fld id="{42481784-3E33-4FE4-B142-F2A5A91E9E0D}" type="datetimeFigureOut">
              <a:rPr lang="de-DE" smtClean="0"/>
              <a:pPr/>
              <a:t>07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egoe UI Semilight" panose="020B0402040204020203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 Semilight" panose="020B0402040204020203" pitchFamily="34" charset="0"/>
              </a:defRPr>
            </a:lvl1pPr>
          </a:lstStyle>
          <a:p>
            <a:fld id="{C5664250-C2A5-40E8-B8ED-6E80D0879DB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3359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 Semilight" panose="020B04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664250-C2A5-40E8-B8ED-6E80D0879DB1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59005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4 different </a:t>
            </a:r>
            <a:r>
              <a:rPr lang="de-DE" dirty="0" err="1"/>
              <a:t>peak</a:t>
            </a:r>
            <a:r>
              <a:rPr lang="de-DE" dirty="0"/>
              <a:t> </a:t>
            </a:r>
            <a:r>
              <a:rPr lang="de-DE" dirty="0" err="1"/>
              <a:t>types</a:t>
            </a:r>
            <a:endParaRPr lang="de-DE" dirty="0"/>
          </a:p>
          <a:p>
            <a:r>
              <a:rPr lang="de-DE" dirty="0"/>
              <a:t>Not </a:t>
            </a:r>
            <a:r>
              <a:rPr lang="de-DE" dirty="0" err="1"/>
              <a:t>much</a:t>
            </a:r>
            <a:r>
              <a:rPr lang="de-DE" baseline="0" dirty="0"/>
              <a:t> </a:t>
            </a:r>
            <a:r>
              <a:rPr lang="de-DE" baseline="0" dirty="0" err="1"/>
              <a:t>room</a:t>
            </a:r>
            <a:r>
              <a:rPr lang="de-DE" baseline="0" dirty="0"/>
              <a:t> </a:t>
            </a:r>
            <a:r>
              <a:rPr lang="de-DE" baseline="0" dirty="0" err="1"/>
              <a:t>for</a:t>
            </a:r>
            <a:r>
              <a:rPr lang="de-DE" baseline="0" dirty="0"/>
              <a:t> </a:t>
            </a:r>
            <a:r>
              <a:rPr lang="de-DE" baseline="0" dirty="0" err="1"/>
              <a:t>reduction</a:t>
            </a:r>
            <a:r>
              <a:rPr lang="de-DE" baseline="0" dirty="0"/>
              <a:t> </a:t>
            </a:r>
            <a:r>
              <a:rPr lang="de-DE" baseline="0" dirty="0" err="1"/>
              <a:t>for</a:t>
            </a:r>
            <a:r>
              <a:rPr lang="de-DE" baseline="0" dirty="0"/>
              <a:t> </a:t>
            </a:r>
            <a:r>
              <a:rPr lang="de-DE" baseline="0" dirty="0" err="1"/>
              <a:t>lower</a:t>
            </a:r>
            <a:r>
              <a:rPr lang="de-DE" baseline="0" dirty="0"/>
              <a:t> </a:t>
            </a:r>
            <a:r>
              <a:rPr lang="de-DE" baseline="0" dirty="0" err="1"/>
              <a:t>loads</a:t>
            </a:r>
            <a:endParaRPr lang="de-DE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0B439-F55B-4997-95D9-3F4A6C3D075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7765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Bidirectional</a:t>
            </a:r>
            <a:r>
              <a:rPr lang="de-DE" dirty="0"/>
              <a:t> </a:t>
            </a:r>
            <a:r>
              <a:rPr lang="de-DE" dirty="0" err="1"/>
              <a:t>Charging</a:t>
            </a:r>
            <a:r>
              <a:rPr lang="de-DE" dirty="0"/>
              <a:t> Management</a:t>
            </a:r>
            <a:r>
              <a:rPr lang="de-DE" baseline="0" dirty="0"/>
              <a:t> </a:t>
            </a:r>
            <a:r>
              <a:rPr lang="de-DE" baseline="0" dirty="0" err="1"/>
              <a:t>is</a:t>
            </a:r>
            <a:r>
              <a:rPr lang="de-DE" baseline="0" dirty="0"/>
              <a:t> </a:t>
            </a:r>
            <a:r>
              <a:rPr lang="en-US" baseline="0" dirty="0"/>
              <a:t>aiming to integrate bidirectional electric vehicles into the energy system.</a:t>
            </a:r>
          </a:p>
          <a:p>
            <a:r>
              <a:rPr lang="en-US" baseline="0" dirty="0"/>
              <a:t>Therefore the project has 5 main goals: ….</a:t>
            </a:r>
            <a:endParaRPr lang="de-DE" dirty="0"/>
          </a:p>
          <a:p>
            <a:r>
              <a:rPr lang="de-DE" dirty="0"/>
              <a:t>In Order</a:t>
            </a:r>
            <a:r>
              <a:rPr lang="de-DE" baseline="0" dirty="0"/>
              <a:t> </a:t>
            </a:r>
            <a:r>
              <a:rPr lang="de-DE" baseline="0" dirty="0" err="1"/>
              <a:t>to</a:t>
            </a:r>
            <a:r>
              <a:rPr lang="de-DE" baseline="0" dirty="0"/>
              <a:t> </a:t>
            </a:r>
            <a:r>
              <a:rPr lang="de-DE" baseline="0" dirty="0" err="1"/>
              <a:t>reach</a:t>
            </a:r>
            <a:r>
              <a:rPr lang="de-DE" baseline="0" dirty="0"/>
              <a:t> </a:t>
            </a:r>
            <a:r>
              <a:rPr lang="de-DE" baseline="0" dirty="0" err="1"/>
              <a:t>these</a:t>
            </a:r>
            <a:r>
              <a:rPr lang="de-DE" baseline="0" dirty="0"/>
              <a:t> </a:t>
            </a:r>
            <a:r>
              <a:rPr lang="de-DE" baseline="0" dirty="0" err="1"/>
              <a:t>goals</a:t>
            </a:r>
            <a:r>
              <a:rPr lang="de-DE" baseline="0" dirty="0"/>
              <a:t> </a:t>
            </a:r>
            <a:r>
              <a:rPr lang="de-DE" dirty="0"/>
              <a:t>8 </a:t>
            </a:r>
            <a:r>
              <a:rPr lang="de-DE" dirty="0" err="1"/>
              <a:t>partner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involved</a:t>
            </a:r>
            <a:r>
              <a:rPr lang="de-DE" dirty="0"/>
              <a:t> in BCM</a:t>
            </a:r>
            <a:r>
              <a:rPr lang="de-DE" baseline="0" dirty="0"/>
              <a:t>:</a:t>
            </a:r>
          </a:p>
          <a:p>
            <a:r>
              <a:rPr lang="de-DE" baseline="0" dirty="0"/>
              <a:t>Bayernwerk, </a:t>
            </a:r>
            <a:r>
              <a:rPr lang="en-US" dirty="0"/>
              <a:t>BMW Group is acting as consortium leader</a:t>
            </a:r>
            <a:r>
              <a:rPr lang="de-DE" baseline="0" dirty="0"/>
              <a:t>, Karlsruher Institute </a:t>
            </a:r>
            <a:r>
              <a:rPr lang="de-DE" baseline="0" dirty="0" err="1"/>
              <a:t>of</a:t>
            </a:r>
            <a:r>
              <a:rPr lang="de-DE" baseline="0" dirty="0"/>
              <a:t> Technology KIT, Kostal, </a:t>
            </a:r>
            <a:r>
              <a:rPr lang="de-DE" baseline="0" dirty="0" err="1"/>
              <a:t>Tennet</a:t>
            </a:r>
            <a:r>
              <a:rPr lang="de-DE" baseline="0" dirty="0"/>
              <a:t>, University </a:t>
            </a:r>
            <a:r>
              <a:rPr lang="de-DE" baseline="0" dirty="0" err="1"/>
              <a:t>of</a:t>
            </a:r>
            <a:r>
              <a:rPr lang="de-DE" baseline="0" dirty="0"/>
              <a:t> Passau </a:t>
            </a:r>
            <a:r>
              <a:rPr lang="de-DE" baseline="0" dirty="0" err="1"/>
              <a:t>and</a:t>
            </a:r>
            <a:r>
              <a:rPr lang="de-DE" baseline="0" dirty="0"/>
              <a:t> </a:t>
            </a:r>
            <a:r>
              <a:rPr lang="de-DE" baseline="0" dirty="0" err="1"/>
              <a:t>FfE</a:t>
            </a:r>
            <a:endParaRPr lang="de-DE" baseline="0" dirty="0"/>
          </a:p>
          <a:p>
            <a:r>
              <a:rPr lang="de-DE" baseline="0" dirty="0" err="1"/>
              <a:t>Right</a:t>
            </a:r>
            <a:r>
              <a:rPr lang="de-DE" baseline="0" dirty="0"/>
              <a:t> </a:t>
            </a:r>
            <a:r>
              <a:rPr lang="de-DE" baseline="0" dirty="0" err="1"/>
              <a:t>picture</a:t>
            </a:r>
            <a:r>
              <a:rPr lang="de-DE" baseline="0" dirty="0"/>
              <a:t>: </a:t>
            </a:r>
            <a:r>
              <a:rPr lang="de-DE" baseline="0" dirty="0" err="1"/>
              <a:t>who</a:t>
            </a:r>
            <a:r>
              <a:rPr lang="de-DE" baseline="0" dirty="0"/>
              <a:t> </a:t>
            </a:r>
            <a:r>
              <a:rPr lang="de-DE" baseline="0" dirty="0" err="1"/>
              <a:t>is</a:t>
            </a:r>
            <a:r>
              <a:rPr lang="de-DE" baseline="0" dirty="0"/>
              <a:t> </a:t>
            </a:r>
            <a:r>
              <a:rPr lang="de-DE" baseline="0" dirty="0" err="1"/>
              <a:t>responsible</a:t>
            </a:r>
            <a:r>
              <a:rPr lang="de-DE" baseline="0" dirty="0"/>
              <a:t> </a:t>
            </a:r>
            <a:r>
              <a:rPr lang="de-DE" baseline="0" dirty="0" err="1"/>
              <a:t>for</a:t>
            </a:r>
            <a:r>
              <a:rPr lang="de-DE" baseline="0" dirty="0"/>
              <a:t> </a:t>
            </a:r>
            <a:r>
              <a:rPr lang="de-DE" baseline="0" dirty="0" err="1"/>
              <a:t>which</a:t>
            </a:r>
            <a:r>
              <a:rPr lang="de-DE" baseline="0" dirty="0"/>
              <a:t> </a:t>
            </a:r>
            <a:r>
              <a:rPr lang="de-DE" baseline="0" dirty="0" err="1"/>
              <a:t>subproject</a:t>
            </a:r>
            <a:endParaRPr lang="de-DE" baseline="0" dirty="0"/>
          </a:p>
          <a:p>
            <a:r>
              <a:rPr lang="de-DE" baseline="0" dirty="0"/>
              <a:t>I </a:t>
            </a:r>
            <a:r>
              <a:rPr lang="de-DE" baseline="0" dirty="0" err="1"/>
              <a:t>want</a:t>
            </a:r>
            <a:r>
              <a:rPr lang="de-DE" baseline="0" dirty="0"/>
              <a:t> </a:t>
            </a:r>
            <a:r>
              <a:rPr lang="de-DE" baseline="0" dirty="0" err="1"/>
              <a:t>to</a:t>
            </a:r>
            <a:r>
              <a:rPr lang="de-DE" baseline="0" dirty="0"/>
              <a:t> </a:t>
            </a:r>
            <a:r>
              <a:rPr lang="de-DE" baseline="0" dirty="0" err="1"/>
              <a:t>highlight</a:t>
            </a:r>
            <a:r>
              <a:rPr lang="de-DE" baseline="0" dirty="0"/>
              <a:t> SP7 </a:t>
            </a:r>
            <a:r>
              <a:rPr lang="de-DE" baseline="0" dirty="0" err="1"/>
              <a:t>where</a:t>
            </a:r>
            <a:r>
              <a:rPr lang="de-DE" baseline="0" dirty="0"/>
              <a:t> </a:t>
            </a:r>
            <a:r>
              <a:rPr lang="de-DE" baseline="0" dirty="0" err="1"/>
              <a:t>we</a:t>
            </a:r>
            <a:r>
              <a:rPr lang="de-DE" baseline="0" dirty="0"/>
              <a:t> will </a:t>
            </a:r>
            <a:r>
              <a:rPr lang="de-DE" baseline="0" dirty="0" err="1"/>
              <a:t>test</a:t>
            </a:r>
            <a:r>
              <a:rPr lang="de-DE" baseline="0" dirty="0"/>
              <a:t> 50 BMW i3s (20 at </a:t>
            </a:r>
            <a:r>
              <a:rPr lang="de-DE" baseline="0" dirty="0" err="1"/>
              <a:t>customer</a:t>
            </a:r>
            <a:r>
              <a:rPr lang="de-DE" baseline="0" dirty="0"/>
              <a:t> </a:t>
            </a:r>
            <a:r>
              <a:rPr lang="de-DE" baseline="0" dirty="0" err="1"/>
              <a:t>site</a:t>
            </a:r>
            <a:r>
              <a:rPr lang="de-DE" baseline="0" dirty="0"/>
              <a:t>, 30 at different </a:t>
            </a:r>
            <a:r>
              <a:rPr lang="de-DE" baseline="0" dirty="0" err="1"/>
              <a:t>companies</a:t>
            </a:r>
            <a:r>
              <a:rPr lang="de-DE" baseline="0" dirty="0"/>
              <a:t>) in a </a:t>
            </a:r>
            <a:r>
              <a:rPr lang="de-DE" baseline="0" dirty="0" err="1"/>
              <a:t>field</a:t>
            </a:r>
            <a:r>
              <a:rPr lang="de-DE" baseline="0" dirty="0"/>
              <a:t> </a:t>
            </a:r>
            <a:r>
              <a:rPr lang="de-DE" baseline="0" dirty="0" err="1"/>
              <a:t>test</a:t>
            </a:r>
            <a:r>
              <a:rPr lang="de-DE" baseline="0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664250-C2A5-40E8-B8ED-6E80D0879DB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3004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Reduction of the load peak at a (company) site with recording power measurement (RLM) by controlled charging/discharging of bidirectional vehicles. The electric vehicle is charged at times of low load and discharged at times of highest peak load.</a:t>
            </a:r>
          </a:p>
          <a:p>
            <a:endParaRPr lang="en-US" dirty="0"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0B439-F55B-4997-95D9-3F4A6C3D075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077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Industry: mechanical, Food and nutrition, rubber and plastic, metallurgy, chemical</a:t>
            </a:r>
          </a:p>
          <a:p>
            <a:endParaRPr lang="en-US" sz="12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32 km, 37 </a:t>
            </a:r>
            <a:r>
              <a:rPr lang="en-US" sz="1200" dirty="0" err="1">
                <a:solidFill>
                  <a:schemeClr val="accent1">
                    <a:lumMod val="50000"/>
                  </a:schemeClr>
                </a:solidFill>
              </a:rPr>
              <a:t>kmh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64250-C2A5-40E8-B8ED-6E80D0879DB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63170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Reduction of the load peak at a (company) site with recording power measurement (RLM) by controlled charging/discharging of bidirectional vehicles. The electric vehicle is charged at times of low load and discharged at times of highest peak load.</a:t>
            </a:r>
          </a:p>
          <a:p>
            <a:endParaRPr lang="en-US" dirty="0">
              <a:cs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0B439-F55B-4997-95D9-3F4A6C3D075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365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4 different </a:t>
            </a:r>
            <a:r>
              <a:rPr lang="de-DE" dirty="0" err="1"/>
              <a:t>peak</a:t>
            </a:r>
            <a:r>
              <a:rPr lang="de-DE" dirty="0"/>
              <a:t> </a:t>
            </a:r>
            <a:r>
              <a:rPr lang="de-DE" dirty="0" err="1"/>
              <a:t>types</a:t>
            </a:r>
            <a:endParaRPr lang="de-DE" dirty="0"/>
          </a:p>
          <a:p>
            <a:r>
              <a:rPr lang="de-DE" dirty="0"/>
              <a:t>Not </a:t>
            </a:r>
            <a:r>
              <a:rPr lang="de-DE" dirty="0" err="1"/>
              <a:t>much</a:t>
            </a:r>
            <a:r>
              <a:rPr lang="de-DE" baseline="0" dirty="0"/>
              <a:t> </a:t>
            </a:r>
            <a:r>
              <a:rPr lang="de-DE" baseline="0" dirty="0" err="1"/>
              <a:t>room</a:t>
            </a:r>
            <a:r>
              <a:rPr lang="de-DE" baseline="0" dirty="0"/>
              <a:t> </a:t>
            </a:r>
            <a:r>
              <a:rPr lang="de-DE" baseline="0" dirty="0" err="1"/>
              <a:t>for</a:t>
            </a:r>
            <a:r>
              <a:rPr lang="de-DE" baseline="0" dirty="0"/>
              <a:t> </a:t>
            </a:r>
            <a:r>
              <a:rPr lang="de-DE" baseline="0" dirty="0" err="1"/>
              <a:t>reduction</a:t>
            </a:r>
            <a:r>
              <a:rPr lang="de-DE" baseline="0" dirty="0"/>
              <a:t> </a:t>
            </a:r>
            <a:r>
              <a:rPr lang="de-DE" baseline="0" dirty="0" err="1"/>
              <a:t>for</a:t>
            </a:r>
            <a:r>
              <a:rPr lang="de-DE" baseline="0" dirty="0"/>
              <a:t> </a:t>
            </a:r>
            <a:r>
              <a:rPr lang="de-DE" baseline="0" dirty="0" err="1"/>
              <a:t>lower</a:t>
            </a:r>
            <a:r>
              <a:rPr lang="de-DE" baseline="0" dirty="0"/>
              <a:t> </a:t>
            </a:r>
            <a:r>
              <a:rPr lang="de-DE" baseline="0" dirty="0" err="1"/>
              <a:t>loads</a:t>
            </a:r>
            <a:endParaRPr lang="de-DE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0B439-F55B-4997-95D9-3F4A6C3D075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4583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0B439-F55B-4997-95D9-3F4A6C3D075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802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Power </a:t>
            </a:r>
            <a:r>
              <a:rPr lang="de-DE" err="1"/>
              <a:t>price</a:t>
            </a:r>
            <a:r>
              <a:rPr lang="de-DE"/>
              <a:t> </a:t>
            </a:r>
            <a:r>
              <a:rPr lang="de-DE" err="1"/>
              <a:t>charged</a:t>
            </a:r>
            <a:r>
              <a:rPr lang="de-DE"/>
              <a:t> on </a:t>
            </a:r>
            <a:r>
              <a:rPr lang="de-DE" err="1"/>
              <a:t>peak</a:t>
            </a:r>
            <a:r>
              <a:rPr lang="de-DE"/>
              <a:t> power </a:t>
            </a:r>
            <a:r>
              <a:rPr lang="de-DE" err="1"/>
              <a:t>consumed</a:t>
            </a:r>
            <a:r>
              <a:rPr lang="de-DE"/>
              <a:t> </a:t>
            </a:r>
            <a:r>
              <a:rPr lang="de-DE" err="1"/>
              <a:t>during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time </a:t>
            </a:r>
            <a:r>
              <a:rPr lang="de-DE" err="1"/>
              <a:t>interval</a:t>
            </a:r>
            <a:r>
              <a:rPr lang="de-DE"/>
              <a:t> in an </a:t>
            </a:r>
            <a:r>
              <a:rPr lang="de-DE" err="1"/>
              <a:t>year</a:t>
            </a:r>
            <a:r>
              <a:rPr lang="de-DE"/>
              <a:t>.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0B439-F55B-4997-95D9-3F4A6C3D075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9375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ower </a:t>
            </a:r>
            <a:r>
              <a:rPr lang="de-DE" dirty="0" err="1"/>
              <a:t>price</a:t>
            </a:r>
            <a:r>
              <a:rPr lang="de-DE" dirty="0"/>
              <a:t> </a:t>
            </a:r>
            <a:r>
              <a:rPr lang="de-DE" dirty="0" err="1"/>
              <a:t>charged</a:t>
            </a:r>
            <a:r>
              <a:rPr lang="de-DE" dirty="0"/>
              <a:t> on </a:t>
            </a:r>
            <a:r>
              <a:rPr lang="de-DE" dirty="0" err="1"/>
              <a:t>peak</a:t>
            </a:r>
            <a:r>
              <a:rPr lang="de-DE" dirty="0"/>
              <a:t> power </a:t>
            </a:r>
            <a:r>
              <a:rPr lang="de-DE" dirty="0" err="1"/>
              <a:t>consumed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time </a:t>
            </a:r>
            <a:r>
              <a:rPr lang="de-DE" dirty="0" err="1"/>
              <a:t>interval</a:t>
            </a:r>
            <a:r>
              <a:rPr lang="de-DE" dirty="0"/>
              <a:t> in an </a:t>
            </a:r>
            <a:r>
              <a:rPr lang="de-DE" dirty="0" err="1"/>
              <a:t>year</a:t>
            </a:r>
            <a:r>
              <a:rPr lang="de-DE" dirty="0"/>
              <a:t>.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0B439-F55B-4997-95D9-3F4A6C3D075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059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fe.de/" TargetMode="External"/><Relationship Id="rId2" Type="http://schemas.openxmlformats.org/officeDocument/2006/relationships/hyperlink" Target="mailto:info@ffe.de" TargetMode="External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fe.de/" TargetMode="External"/><Relationship Id="rId2" Type="http://schemas.openxmlformats.org/officeDocument/2006/relationships/hyperlink" Target="mailto:info@ffe.de" TargetMode="External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4607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Sechseck 43"/>
          <p:cNvSpPr/>
          <p:nvPr userDrawn="1"/>
        </p:nvSpPr>
        <p:spPr>
          <a:xfrm rot="10800000">
            <a:off x="621271" y="330483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Sechseck 44"/>
          <p:cNvSpPr/>
          <p:nvPr userDrawn="1"/>
        </p:nvSpPr>
        <p:spPr>
          <a:xfrm rot="10800000">
            <a:off x="2981520" y="2006871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 11"/>
          <p:cNvSpPr/>
          <p:nvPr userDrawn="1"/>
        </p:nvSpPr>
        <p:spPr>
          <a:xfrm>
            <a:off x="0" y="3281615"/>
            <a:ext cx="6470658" cy="3576385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49" y="5865807"/>
            <a:ext cx="5563339" cy="47625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sz="1800"/>
              <a:t>Vortragender/Vortragende</a:t>
            </a:r>
            <a:endParaRPr lang="de-DE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fld id="{D0E73C5D-919A-4425-97BB-C703384E2446}" type="datetime1">
              <a:rPr lang="en-US" smtClean="0"/>
              <a:t>9/7/2021</a:t>
            </a:fld>
            <a:endParaRPr lang="de-DE"/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861641" y="481412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/>
              <a:t>Icon</a:t>
            </a:r>
          </a:p>
        </p:txBody>
      </p:sp>
      <p:sp>
        <p:nvSpPr>
          <p:cNvPr id="2" name="Freihandform 1"/>
          <p:cNvSpPr/>
          <p:nvPr userDrawn="1"/>
        </p:nvSpPr>
        <p:spPr>
          <a:xfrm>
            <a:off x="2108200" y="862554"/>
            <a:ext cx="1625600" cy="1211779"/>
          </a:xfrm>
          <a:custGeom>
            <a:avLst/>
            <a:gdLst>
              <a:gd name="connsiteX0" fmla="*/ 0 w 1617133"/>
              <a:gd name="connsiteY0" fmla="*/ 85713 h 1110179"/>
              <a:gd name="connsiteX1" fmla="*/ 1109133 w 1617133"/>
              <a:gd name="connsiteY1" fmla="*/ 102646 h 1110179"/>
              <a:gd name="connsiteX2" fmla="*/ 1617133 w 1617133"/>
              <a:gd name="connsiteY2" fmla="*/ 1110179 h 111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7133" h="1110179">
                <a:moveTo>
                  <a:pt x="0" y="85713"/>
                </a:moveTo>
                <a:cubicBezTo>
                  <a:pt x="419805" y="8807"/>
                  <a:pt x="839611" y="-68098"/>
                  <a:pt x="1109133" y="102646"/>
                </a:cubicBezTo>
                <a:cubicBezTo>
                  <a:pt x="1378655" y="273390"/>
                  <a:pt x="1521177" y="808201"/>
                  <a:pt x="1617133" y="1110179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Freihandform 22"/>
          <p:cNvSpPr/>
          <p:nvPr userDrawn="1"/>
        </p:nvSpPr>
        <p:spPr>
          <a:xfrm rot="8428697">
            <a:off x="4194577" y="2414509"/>
            <a:ext cx="2238816" cy="1127611"/>
          </a:xfrm>
          <a:custGeom>
            <a:avLst/>
            <a:gdLst>
              <a:gd name="connsiteX0" fmla="*/ 0 w 1617133"/>
              <a:gd name="connsiteY0" fmla="*/ 85713 h 1110179"/>
              <a:gd name="connsiteX1" fmla="*/ 1109133 w 1617133"/>
              <a:gd name="connsiteY1" fmla="*/ 102646 h 1110179"/>
              <a:gd name="connsiteX2" fmla="*/ 1617133 w 1617133"/>
              <a:gd name="connsiteY2" fmla="*/ 1110179 h 1110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7133" h="1110179">
                <a:moveTo>
                  <a:pt x="0" y="85713"/>
                </a:moveTo>
                <a:cubicBezTo>
                  <a:pt x="419805" y="8807"/>
                  <a:pt x="839611" y="-68098"/>
                  <a:pt x="1109133" y="102646"/>
                </a:cubicBezTo>
                <a:cubicBezTo>
                  <a:pt x="1378655" y="273390"/>
                  <a:pt x="1521177" y="808201"/>
                  <a:pt x="1617133" y="1110179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Bogen 4"/>
          <p:cNvSpPr/>
          <p:nvPr userDrawn="1"/>
        </p:nvSpPr>
        <p:spPr>
          <a:xfrm flipV="1">
            <a:off x="7292013" y="511022"/>
            <a:ext cx="2126906" cy="2212788"/>
          </a:xfrm>
          <a:prstGeom prst="arc">
            <a:avLst>
              <a:gd name="adj1" fmla="val 14913343"/>
              <a:gd name="adj2" fmla="val 21452973"/>
            </a:avLst>
          </a:pr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8" name="Freihandform 27"/>
          <p:cNvSpPr/>
          <p:nvPr userDrawn="1"/>
        </p:nvSpPr>
        <p:spPr>
          <a:xfrm>
            <a:off x="10141955" y="1022467"/>
            <a:ext cx="1165382" cy="1294865"/>
          </a:xfrm>
          <a:custGeom>
            <a:avLst/>
            <a:gdLst>
              <a:gd name="connsiteX0" fmla="*/ 0 w 1188740"/>
              <a:gd name="connsiteY0" fmla="*/ 0 h 1253067"/>
              <a:gd name="connsiteX1" fmla="*/ 999067 w 1188740"/>
              <a:gd name="connsiteY1" fmla="*/ 457200 h 1253067"/>
              <a:gd name="connsiteX2" fmla="*/ 1185333 w 1188740"/>
              <a:gd name="connsiteY2" fmla="*/ 1253067 h 1253067"/>
              <a:gd name="connsiteX0" fmla="*/ 0 w 1137602"/>
              <a:gd name="connsiteY0" fmla="*/ 0 h 1226011"/>
              <a:gd name="connsiteX1" fmla="*/ 947929 w 1137602"/>
              <a:gd name="connsiteY1" fmla="*/ 430144 h 1226011"/>
              <a:gd name="connsiteX2" fmla="*/ 1134195 w 1137602"/>
              <a:gd name="connsiteY2" fmla="*/ 1226011 h 1226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37602" h="1226011">
                <a:moveTo>
                  <a:pt x="0" y="0"/>
                </a:moveTo>
                <a:cubicBezTo>
                  <a:pt x="400756" y="124178"/>
                  <a:pt x="750374" y="221300"/>
                  <a:pt x="947929" y="430144"/>
                </a:cubicBezTo>
                <a:cubicBezTo>
                  <a:pt x="1145484" y="638988"/>
                  <a:pt x="1144073" y="912744"/>
                  <a:pt x="1134195" y="1226011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9" name="Ellipse 28"/>
          <p:cNvSpPr/>
          <p:nvPr userDrawn="1"/>
        </p:nvSpPr>
        <p:spPr>
          <a:xfrm>
            <a:off x="3893149" y="1788850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/>
          <p:cNvSpPr/>
          <p:nvPr userDrawn="1"/>
        </p:nvSpPr>
        <p:spPr>
          <a:xfrm>
            <a:off x="3502220" y="1788850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/>
          <p:cNvSpPr/>
          <p:nvPr userDrawn="1"/>
        </p:nvSpPr>
        <p:spPr>
          <a:xfrm>
            <a:off x="1867046" y="746505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Ellipse 31"/>
          <p:cNvSpPr/>
          <p:nvPr userDrawn="1"/>
        </p:nvSpPr>
        <p:spPr>
          <a:xfrm>
            <a:off x="8433217" y="79189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/>
          <p:cNvSpPr/>
          <p:nvPr userDrawn="1"/>
        </p:nvSpPr>
        <p:spPr>
          <a:xfrm>
            <a:off x="7748403" y="243439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/>
          <p:cNvSpPr/>
          <p:nvPr userDrawn="1"/>
        </p:nvSpPr>
        <p:spPr>
          <a:xfrm>
            <a:off x="6226528" y="243439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/>
          <p:cNvSpPr/>
          <p:nvPr userDrawn="1"/>
        </p:nvSpPr>
        <p:spPr>
          <a:xfrm>
            <a:off x="3916942" y="3036877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Ellipse 35"/>
          <p:cNvSpPr/>
          <p:nvPr userDrawn="1"/>
        </p:nvSpPr>
        <p:spPr>
          <a:xfrm>
            <a:off x="11082866" y="207698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Ellipse 37"/>
          <p:cNvSpPr/>
          <p:nvPr userDrawn="1"/>
        </p:nvSpPr>
        <p:spPr>
          <a:xfrm>
            <a:off x="9183057" y="146526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3221890" y="2157800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/>
              <a:t>Icon</a:t>
            </a: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10" y="3715921"/>
            <a:ext cx="729760" cy="535157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  <p:sp>
        <p:nvSpPr>
          <p:cNvPr id="4" name="Freihandform 3"/>
          <p:cNvSpPr/>
          <p:nvPr userDrawn="1"/>
        </p:nvSpPr>
        <p:spPr>
          <a:xfrm>
            <a:off x="4098355" y="993890"/>
            <a:ext cx="4580901" cy="1019105"/>
          </a:xfrm>
          <a:custGeom>
            <a:avLst/>
            <a:gdLst>
              <a:gd name="connsiteX0" fmla="*/ 0 w 4650941"/>
              <a:gd name="connsiteY0" fmla="*/ 1287296 h 1287296"/>
              <a:gd name="connsiteX1" fmla="*/ 1526193 w 4650941"/>
              <a:gd name="connsiteY1" fmla="*/ 162386 h 1287296"/>
              <a:gd name="connsiteX2" fmla="*/ 4650941 w 4650941"/>
              <a:gd name="connsiteY2" fmla="*/ 30818 h 1287296"/>
              <a:gd name="connsiteX0" fmla="*/ 0 w 4687491"/>
              <a:gd name="connsiteY0" fmla="*/ 1287297 h 1287297"/>
              <a:gd name="connsiteX1" fmla="*/ 1526193 w 4687491"/>
              <a:gd name="connsiteY1" fmla="*/ 162387 h 1287297"/>
              <a:gd name="connsiteX2" fmla="*/ 4687491 w 4687491"/>
              <a:gd name="connsiteY2" fmla="*/ 30818 h 1287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87491" h="1287297">
                <a:moveTo>
                  <a:pt x="0" y="1287297"/>
                </a:moveTo>
                <a:cubicBezTo>
                  <a:pt x="375518" y="829548"/>
                  <a:pt x="751036" y="371800"/>
                  <a:pt x="1526193" y="162387"/>
                </a:cubicBezTo>
                <a:cubicBezTo>
                  <a:pt x="2301350" y="-47026"/>
                  <a:pt x="3512695" y="-8105"/>
                  <a:pt x="4687491" y="30818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8" name="Sechseck 47"/>
          <p:cNvSpPr/>
          <p:nvPr userDrawn="1"/>
        </p:nvSpPr>
        <p:spPr>
          <a:xfrm rot="10800000">
            <a:off x="6461711" y="2000822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702081" y="2151751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/>
              <a:t>Icon</a:t>
            </a:r>
          </a:p>
        </p:txBody>
      </p:sp>
      <p:sp>
        <p:nvSpPr>
          <p:cNvPr id="50" name="Sechseck 49"/>
          <p:cNvSpPr/>
          <p:nvPr userDrawn="1"/>
        </p:nvSpPr>
        <p:spPr>
          <a:xfrm rot="10800000">
            <a:off x="8662357" y="385861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Bildplatzhalter 6"/>
          <p:cNvSpPr>
            <a:spLocks noGrp="1"/>
          </p:cNvSpPr>
          <p:nvPr>
            <p:ph type="pic" sz="quarter" idx="19" hasCustomPrompt="1"/>
          </p:nvPr>
        </p:nvSpPr>
        <p:spPr>
          <a:xfrm>
            <a:off x="8902727" y="536790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/>
              <a:t>Icon</a:t>
            </a:r>
          </a:p>
        </p:txBody>
      </p:sp>
      <p:sp>
        <p:nvSpPr>
          <p:cNvPr id="52" name="Sechseck 51"/>
          <p:cNvSpPr/>
          <p:nvPr userDrawn="1"/>
        </p:nvSpPr>
        <p:spPr>
          <a:xfrm rot="10800000">
            <a:off x="10558195" y="2313410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10798565" y="2464339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/>
              <a:t>Icon</a:t>
            </a:r>
          </a:p>
        </p:txBody>
      </p:sp>
      <p:sp>
        <p:nvSpPr>
          <p:cNvPr id="37" name="Ellipse 36"/>
          <p:cNvSpPr/>
          <p:nvPr userDrawn="1"/>
        </p:nvSpPr>
        <p:spPr>
          <a:xfrm>
            <a:off x="9903818" y="809193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8" y="4485216"/>
            <a:ext cx="5563339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800" b="1" baseline="0" dirty="0">
                <a:solidFill>
                  <a:srgbClr val="356CA5"/>
                </a:solidFill>
              </a:defRPr>
            </a:lvl1pPr>
          </a:lstStyle>
          <a:p>
            <a:pPr marL="228600" marR="0" lvl="0" indent="-2286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Mastertextformat bearbeiten</a:t>
            </a:r>
          </a:p>
        </p:txBody>
      </p:sp>
      <p:sp>
        <p:nvSpPr>
          <p:cNvPr id="43" name="Rechtwinkliges Dreieck 42"/>
          <p:cNvSpPr/>
          <p:nvPr userDrawn="1"/>
        </p:nvSpPr>
        <p:spPr>
          <a:xfrm flipH="1">
            <a:off x="11138666" y="4514283"/>
            <a:ext cx="1053333" cy="2350293"/>
          </a:xfrm>
          <a:prstGeom prst="rtTriangle">
            <a:avLst/>
          </a:prstGeom>
          <a:solidFill>
            <a:schemeClr val="accent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6" name="Textfeld 45"/>
          <p:cNvSpPr txBox="1"/>
          <p:nvPr userDrawn="1"/>
        </p:nvSpPr>
        <p:spPr>
          <a:xfrm>
            <a:off x="11223059" y="6328904"/>
            <a:ext cx="10533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>
                <a:solidFill>
                  <a:schemeClr val="bg1"/>
                </a:solidFill>
              </a:rPr>
              <a:t>2021</a:t>
            </a:r>
            <a:endParaRPr lang="de-DE" sz="32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4559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76499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385317"/>
            <a:ext cx="5161510" cy="435914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2000" b="1">
                <a:latin typeface="Segoe UI Semilight" panose="020B0402040204020203" pitchFamily="34" charset="0"/>
              </a:defRPr>
            </a:lvl1pPr>
            <a:lvl2pPr marL="742950" indent="-285750">
              <a:buClr>
                <a:srgbClr val="356CA5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buClr>
                <a:srgbClr val="356CA5"/>
              </a:buClr>
              <a:buFont typeface="Wingdings" panose="05000000000000000000" pitchFamily="2" charset="2"/>
              <a:buChar char="§"/>
              <a:defRPr sz="1600"/>
            </a:lvl3pPr>
            <a:lvl4pPr marL="1600200" indent="-228600">
              <a:buClr>
                <a:srgbClr val="356CA5"/>
              </a:buClr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Vergleichsobjekt 1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053075" y="1385317"/>
            <a:ext cx="5162400" cy="435914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2000" b="1">
                <a:latin typeface="Segoe UI Semilight" panose="020B0402040204020203" pitchFamily="34" charset="0"/>
              </a:defRPr>
            </a:lvl1pPr>
            <a:lvl2pPr marL="742950" indent="-285750">
              <a:buClr>
                <a:srgbClr val="356CA5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buClr>
                <a:srgbClr val="356CA5"/>
              </a:buClr>
              <a:buFont typeface="Wingdings" panose="05000000000000000000" pitchFamily="2" charset="2"/>
              <a:buChar char="§"/>
              <a:defRPr sz="1600"/>
            </a:lvl3pPr>
            <a:lvl4pPr marL="1600200" indent="-228600">
              <a:buClr>
                <a:srgbClr val="356CA5"/>
              </a:buClr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Vergleichsobjekt 2</a:t>
            </a:r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766763" y="1838528"/>
            <a:ext cx="516151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6052701" y="1838528"/>
            <a:ext cx="516240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766763" y="1844675"/>
            <a:ext cx="5161510" cy="451167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8001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573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4pPr>
            <a:lvl5pPr>
              <a:defRPr sz="2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6052224" y="1844675"/>
            <a:ext cx="5162400" cy="451167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1pPr>
            <a:lvl2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2pPr>
            <a:lvl3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57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_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844675"/>
            <a:ext cx="5161510" cy="431598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2000" b="1">
                <a:latin typeface="Segoe UI Semilight" panose="020B0402040204020203" pitchFamily="34" charset="0"/>
              </a:defRPr>
            </a:lvl1pPr>
            <a:lvl2pPr marL="742950" indent="-285750">
              <a:buClr>
                <a:srgbClr val="356CA5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buClr>
                <a:srgbClr val="356CA5"/>
              </a:buClr>
              <a:buFont typeface="Wingdings" panose="05000000000000000000" pitchFamily="2" charset="2"/>
              <a:buChar char="§"/>
              <a:defRPr sz="1600"/>
            </a:lvl3pPr>
            <a:lvl4pPr marL="1600200" indent="-228600">
              <a:buClr>
                <a:srgbClr val="356CA5"/>
              </a:buClr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Vergleichsobjekt 1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6053075" y="1844675"/>
            <a:ext cx="5162400" cy="431598"/>
          </a:xfrm>
          <a:prstGeom prst="rect">
            <a:avLst/>
          </a:prstGeom>
        </p:spPr>
        <p:txBody>
          <a:bodyPr anchor="b"/>
          <a:lstStyle>
            <a:lvl1pPr marL="0" indent="0" algn="ctr">
              <a:buClr>
                <a:srgbClr val="356CA5"/>
              </a:buClr>
              <a:buFont typeface="Symbol" panose="05050102010706020507" pitchFamily="18" charset="2"/>
              <a:buNone/>
              <a:defRPr sz="2000" b="1">
                <a:latin typeface="Segoe UI Semilight" panose="020B0402040204020203" pitchFamily="34" charset="0"/>
              </a:defRPr>
            </a:lvl1pPr>
            <a:lvl2pPr marL="742950" indent="-285750">
              <a:buClr>
                <a:srgbClr val="356CA5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buClr>
                <a:srgbClr val="356CA5"/>
              </a:buClr>
              <a:buFont typeface="Wingdings" panose="05000000000000000000" pitchFamily="2" charset="2"/>
              <a:buChar char="§"/>
              <a:defRPr sz="1600"/>
            </a:lvl3pPr>
            <a:lvl4pPr marL="1600200" indent="-228600">
              <a:buClr>
                <a:srgbClr val="356CA5"/>
              </a:buClr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Vergleichsobjekt 2</a:t>
            </a:r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766763" y="2295728"/>
            <a:ext cx="516151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6052701" y="2295728"/>
            <a:ext cx="5162400" cy="0"/>
          </a:xfrm>
          <a:prstGeom prst="line">
            <a:avLst/>
          </a:prstGeom>
          <a:ln w="19050">
            <a:solidFill>
              <a:srgbClr val="356C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766763" y="2379663"/>
            <a:ext cx="5161510" cy="397668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8001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57300" indent="-342900"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4pPr>
            <a:lvl5pPr>
              <a:defRPr sz="20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>
          <a:xfrm>
            <a:off x="6052224" y="2379663"/>
            <a:ext cx="5162400" cy="397668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1pPr>
            <a:lvl2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2pPr>
            <a:lvl3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3pPr>
            <a:lvl4pPr>
              <a:buClr>
                <a:schemeClr val="tx1"/>
              </a:buClr>
              <a:defRPr sz="1600">
                <a:latin typeface="Segoe UI Semilight" panose="020B0402040204020203" pitchFamily="34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59299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_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193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800" b="1" i="0" baseline="0">
              <a:latin typeface="Segoe UI Semilight" panose="020B0402040204020203" pitchFamily="34" charset="0"/>
              <a:ea typeface="+mj-ea"/>
              <a:cs typeface="+mj-cs"/>
              <a:sym typeface="Segoe UI Semilight" panose="020B04020402040202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6763" y="1852487"/>
            <a:ext cx="10477500" cy="1325563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Text einfügen</a:t>
            </a:r>
          </a:p>
        </p:txBody>
      </p:sp>
      <p:pic>
        <p:nvPicPr>
          <p:cNvPr id="107" name="Grafik 10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43"/>
          <a:stretch/>
        </p:blipFill>
        <p:spPr>
          <a:xfrm>
            <a:off x="768559" y="3282630"/>
            <a:ext cx="10475704" cy="35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9136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kussion_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766764" y="1840926"/>
            <a:ext cx="10433050" cy="2049462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742950" indent="-285750"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00150" indent="-285750"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 marL="1657350" indent="-285750"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4pPr>
            <a:lvl5pPr marL="2114550" indent="-285750">
              <a:buFont typeface="Arial" panose="020B0604020202020204" pitchFamily="34" charset="0"/>
              <a:buChar char="•"/>
              <a:defRPr sz="1600">
                <a:latin typeface="Futura Lt BT" panose="020B0402020204020303" pitchFamily="34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Überschrift einfügen</a:t>
            </a: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843"/>
          <a:stretch/>
        </p:blipFill>
        <p:spPr>
          <a:xfrm>
            <a:off x="768559" y="3282630"/>
            <a:ext cx="10475704" cy="358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3502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BFDEF-4FA2-43E7-BD3C-6EE7EEA971EF}" type="datetime1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3149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2434167" y="1442507"/>
            <a:ext cx="9761390" cy="5416763"/>
          </a:xfrm>
          <a:custGeom>
            <a:avLst/>
            <a:gdLst>
              <a:gd name="connsiteX0" fmla="*/ 0 w 9090659"/>
              <a:gd name="connsiteY0" fmla="*/ 0 h 5426076"/>
              <a:gd name="connsiteX1" fmla="*/ 9090659 w 9090659"/>
              <a:gd name="connsiteY1" fmla="*/ 0 h 5426076"/>
              <a:gd name="connsiteX2" fmla="*/ 9090659 w 9090659"/>
              <a:gd name="connsiteY2" fmla="*/ 5426076 h 5426076"/>
              <a:gd name="connsiteX3" fmla="*/ 0 w 9090659"/>
              <a:gd name="connsiteY3" fmla="*/ 5426076 h 5426076"/>
              <a:gd name="connsiteX4" fmla="*/ 0 w 9090659"/>
              <a:gd name="connsiteY4" fmla="*/ 0 h 5426076"/>
              <a:gd name="connsiteX0" fmla="*/ 2461260 w 9090659"/>
              <a:gd name="connsiteY0" fmla="*/ 0 h 5433696"/>
              <a:gd name="connsiteX1" fmla="*/ 9090659 w 9090659"/>
              <a:gd name="connsiteY1" fmla="*/ 7620 h 5433696"/>
              <a:gd name="connsiteX2" fmla="*/ 9090659 w 9090659"/>
              <a:gd name="connsiteY2" fmla="*/ 5433696 h 5433696"/>
              <a:gd name="connsiteX3" fmla="*/ 0 w 9090659"/>
              <a:gd name="connsiteY3" fmla="*/ 5433696 h 5433696"/>
              <a:gd name="connsiteX4" fmla="*/ 2461260 w 9090659"/>
              <a:gd name="connsiteY4" fmla="*/ 0 h 5433696"/>
              <a:gd name="connsiteX0" fmla="*/ 2377440 w 9090659"/>
              <a:gd name="connsiteY0" fmla="*/ 0 h 5426076"/>
              <a:gd name="connsiteX1" fmla="*/ 9090659 w 9090659"/>
              <a:gd name="connsiteY1" fmla="*/ 0 h 5426076"/>
              <a:gd name="connsiteX2" fmla="*/ 9090659 w 9090659"/>
              <a:gd name="connsiteY2" fmla="*/ 5426076 h 5426076"/>
              <a:gd name="connsiteX3" fmla="*/ 0 w 9090659"/>
              <a:gd name="connsiteY3" fmla="*/ 5426076 h 5426076"/>
              <a:gd name="connsiteX4" fmla="*/ 2377440 w 9090659"/>
              <a:gd name="connsiteY4" fmla="*/ 0 h 5426076"/>
              <a:gd name="connsiteX0" fmla="*/ 2484120 w 9197339"/>
              <a:gd name="connsiteY0" fmla="*/ 0 h 5426076"/>
              <a:gd name="connsiteX1" fmla="*/ 9197339 w 9197339"/>
              <a:gd name="connsiteY1" fmla="*/ 0 h 5426076"/>
              <a:gd name="connsiteX2" fmla="*/ 9197339 w 9197339"/>
              <a:gd name="connsiteY2" fmla="*/ 5426076 h 5426076"/>
              <a:gd name="connsiteX3" fmla="*/ 0 w 9197339"/>
              <a:gd name="connsiteY3" fmla="*/ 5418456 h 5426076"/>
              <a:gd name="connsiteX4" fmla="*/ 2484120 w 9197339"/>
              <a:gd name="connsiteY4" fmla="*/ 0 h 5426076"/>
              <a:gd name="connsiteX0" fmla="*/ 2590800 w 9197339"/>
              <a:gd name="connsiteY0" fmla="*/ 0 h 5426076"/>
              <a:gd name="connsiteX1" fmla="*/ 9197339 w 9197339"/>
              <a:gd name="connsiteY1" fmla="*/ 0 h 5426076"/>
              <a:gd name="connsiteX2" fmla="*/ 9197339 w 9197339"/>
              <a:gd name="connsiteY2" fmla="*/ 5426076 h 5426076"/>
              <a:gd name="connsiteX3" fmla="*/ 0 w 9197339"/>
              <a:gd name="connsiteY3" fmla="*/ 5418456 h 5426076"/>
              <a:gd name="connsiteX4" fmla="*/ 2590800 w 9197339"/>
              <a:gd name="connsiteY4" fmla="*/ 0 h 5426076"/>
              <a:gd name="connsiteX0" fmla="*/ 2461260 w 9067799"/>
              <a:gd name="connsiteY0" fmla="*/ 0 h 5426076"/>
              <a:gd name="connsiteX1" fmla="*/ 9067799 w 9067799"/>
              <a:gd name="connsiteY1" fmla="*/ 0 h 5426076"/>
              <a:gd name="connsiteX2" fmla="*/ 9067799 w 9067799"/>
              <a:gd name="connsiteY2" fmla="*/ 5426076 h 5426076"/>
              <a:gd name="connsiteX3" fmla="*/ 0 w 9067799"/>
              <a:gd name="connsiteY3" fmla="*/ 5426076 h 5426076"/>
              <a:gd name="connsiteX4" fmla="*/ 2461260 w 9067799"/>
              <a:gd name="connsiteY4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0 w 9067800"/>
              <a:gd name="connsiteY4" fmla="*/ 5426076 h 5426076"/>
              <a:gd name="connsiteX5" fmla="*/ 2461260 w 9067800"/>
              <a:gd name="connsiteY5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9067799 w 9067800"/>
              <a:gd name="connsiteY3" fmla="*/ 542607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8458199 w 9067800"/>
              <a:gd name="connsiteY3" fmla="*/ 490791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067800"/>
              <a:gd name="connsiteY0" fmla="*/ 0 h 5426076"/>
              <a:gd name="connsiteX1" fmla="*/ 9067799 w 9067800"/>
              <a:gd name="connsiteY1" fmla="*/ 0 h 5426076"/>
              <a:gd name="connsiteX2" fmla="*/ 9067800 w 9067800"/>
              <a:gd name="connsiteY2" fmla="*/ 3086736 h 5426076"/>
              <a:gd name="connsiteX3" fmla="*/ 8458199 w 9067800"/>
              <a:gd name="connsiteY3" fmla="*/ 4907916 h 5426076"/>
              <a:gd name="connsiteX4" fmla="*/ 8008619 w 9067800"/>
              <a:gd name="connsiteY4" fmla="*/ 5418456 h 5426076"/>
              <a:gd name="connsiteX5" fmla="*/ 0 w 9067800"/>
              <a:gd name="connsiteY5" fmla="*/ 5426076 h 5426076"/>
              <a:gd name="connsiteX6" fmla="*/ 2461260 w 9067800"/>
              <a:gd name="connsiteY6" fmla="*/ 0 h 5426076"/>
              <a:gd name="connsiteX0" fmla="*/ 2461260 w 9199434"/>
              <a:gd name="connsiteY0" fmla="*/ 0 h 5426076"/>
              <a:gd name="connsiteX1" fmla="*/ 9067799 w 9199434"/>
              <a:gd name="connsiteY1" fmla="*/ 0 h 5426076"/>
              <a:gd name="connsiteX2" fmla="*/ 9067800 w 9199434"/>
              <a:gd name="connsiteY2" fmla="*/ 3086736 h 5426076"/>
              <a:gd name="connsiteX3" fmla="*/ 8458199 w 9199434"/>
              <a:gd name="connsiteY3" fmla="*/ 4907916 h 5426076"/>
              <a:gd name="connsiteX4" fmla="*/ 8008619 w 9199434"/>
              <a:gd name="connsiteY4" fmla="*/ 5418456 h 5426076"/>
              <a:gd name="connsiteX5" fmla="*/ 0 w 9199434"/>
              <a:gd name="connsiteY5" fmla="*/ 5426076 h 5426076"/>
              <a:gd name="connsiteX6" fmla="*/ 2461260 w 9199434"/>
              <a:gd name="connsiteY6" fmla="*/ 0 h 5426076"/>
              <a:gd name="connsiteX0" fmla="*/ 2461260 w 9199434"/>
              <a:gd name="connsiteY0" fmla="*/ 0 h 5426076"/>
              <a:gd name="connsiteX1" fmla="*/ 9067799 w 9199434"/>
              <a:gd name="connsiteY1" fmla="*/ 0 h 5426076"/>
              <a:gd name="connsiteX2" fmla="*/ 9067800 w 9199434"/>
              <a:gd name="connsiteY2" fmla="*/ 3086736 h 5426076"/>
              <a:gd name="connsiteX3" fmla="*/ 8458199 w 9199434"/>
              <a:gd name="connsiteY3" fmla="*/ 4907916 h 5426076"/>
              <a:gd name="connsiteX4" fmla="*/ 8008619 w 9199434"/>
              <a:gd name="connsiteY4" fmla="*/ 5418456 h 5426076"/>
              <a:gd name="connsiteX5" fmla="*/ 0 w 9199434"/>
              <a:gd name="connsiteY5" fmla="*/ 5426076 h 5426076"/>
              <a:gd name="connsiteX6" fmla="*/ 2461260 w 9199434"/>
              <a:gd name="connsiteY6" fmla="*/ 0 h 5426076"/>
              <a:gd name="connsiteX0" fmla="*/ 2461260 w 9158255"/>
              <a:gd name="connsiteY0" fmla="*/ 0 h 5426076"/>
              <a:gd name="connsiteX1" fmla="*/ 9067799 w 9158255"/>
              <a:gd name="connsiteY1" fmla="*/ 0 h 5426076"/>
              <a:gd name="connsiteX2" fmla="*/ 9067800 w 9158255"/>
              <a:gd name="connsiteY2" fmla="*/ 3086736 h 5426076"/>
              <a:gd name="connsiteX3" fmla="*/ 8458199 w 9158255"/>
              <a:gd name="connsiteY3" fmla="*/ 4907916 h 5426076"/>
              <a:gd name="connsiteX4" fmla="*/ 8008619 w 9158255"/>
              <a:gd name="connsiteY4" fmla="*/ 5418456 h 5426076"/>
              <a:gd name="connsiteX5" fmla="*/ 0 w 9158255"/>
              <a:gd name="connsiteY5" fmla="*/ 5426076 h 5426076"/>
              <a:gd name="connsiteX6" fmla="*/ 2461260 w 9158255"/>
              <a:gd name="connsiteY6" fmla="*/ 0 h 5426076"/>
              <a:gd name="connsiteX0" fmla="*/ 2461260 w 9158255"/>
              <a:gd name="connsiteY0" fmla="*/ 0 h 5426076"/>
              <a:gd name="connsiteX1" fmla="*/ 9067799 w 9158255"/>
              <a:gd name="connsiteY1" fmla="*/ 0 h 5426076"/>
              <a:gd name="connsiteX2" fmla="*/ 9067800 w 9158255"/>
              <a:gd name="connsiteY2" fmla="*/ 3086736 h 5426076"/>
              <a:gd name="connsiteX3" fmla="*/ 8458199 w 9158255"/>
              <a:gd name="connsiteY3" fmla="*/ 4907916 h 5426076"/>
              <a:gd name="connsiteX4" fmla="*/ 8008619 w 9158255"/>
              <a:gd name="connsiteY4" fmla="*/ 5418456 h 5426076"/>
              <a:gd name="connsiteX5" fmla="*/ 0 w 9158255"/>
              <a:gd name="connsiteY5" fmla="*/ 5426076 h 5426076"/>
              <a:gd name="connsiteX6" fmla="*/ 2461260 w 9158255"/>
              <a:gd name="connsiteY6" fmla="*/ 0 h 5426076"/>
              <a:gd name="connsiteX0" fmla="*/ 8458199 w 9167526"/>
              <a:gd name="connsiteY0" fmla="*/ 4907916 h 5426076"/>
              <a:gd name="connsiteX1" fmla="*/ 8008619 w 9167526"/>
              <a:gd name="connsiteY1" fmla="*/ 5418456 h 5426076"/>
              <a:gd name="connsiteX2" fmla="*/ 0 w 9167526"/>
              <a:gd name="connsiteY2" fmla="*/ 5426076 h 5426076"/>
              <a:gd name="connsiteX3" fmla="*/ 2461260 w 9167526"/>
              <a:gd name="connsiteY3" fmla="*/ 0 h 5426076"/>
              <a:gd name="connsiteX4" fmla="*/ 9067799 w 9167526"/>
              <a:gd name="connsiteY4" fmla="*/ 0 h 5426076"/>
              <a:gd name="connsiteX5" fmla="*/ 9067800 w 9167526"/>
              <a:gd name="connsiteY5" fmla="*/ 3086736 h 5426076"/>
              <a:gd name="connsiteX6" fmla="*/ 8549639 w 9167526"/>
              <a:gd name="connsiteY6" fmla="*/ 4999356 h 5426076"/>
              <a:gd name="connsiteX0" fmla="*/ 8458199 w 9067800"/>
              <a:gd name="connsiteY0" fmla="*/ 4907916 h 5426076"/>
              <a:gd name="connsiteX1" fmla="*/ 8008619 w 9067800"/>
              <a:gd name="connsiteY1" fmla="*/ 5418456 h 5426076"/>
              <a:gd name="connsiteX2" fmla="*/ 0 w 9067800"/>
              <a:gd name="connsiteY2" fmla="*/ 5426076 h 5426076"/>
              <a:gd name="connsiteX3" fmla="*/ 2461260 w 9067800"/>
              <a:gd name="connsiteY3" fmla="*/ 0 h 5426076"/>
              <a:gd name="connsiteX4" fmla="*/ 9067799 w 9067800"/>
              <a:gd name="connsiteY4" fmla="*/ 0 h 5426076"/>
              <a:gd name="connsiteX5" fmla="*/ 9067800 w 9067800"/>
              <a:gd name="connsiteY5" fmla="*/ 3086736 h 5426076"/>
              <a:gd name="connsiteX0" fmla="*/ 8008619 w 9067800"/>
              <a:gd name="connsiteY0" fmla="*/ 541845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86736 h 5426076"/>
              <a:gd name="connsiteX0" fmla="*/ 8008619 w 9067800"/>
              <a:gd name="connsiteY0" fmla="*/ 541845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86736 h 5426076"/>
              <a:gd name="connsiteX5" fmla="*/ 8008619 w 9067800"/>
              <a:gd name="connsiteY5" fmla="*/ 5418456 h 5426076"/>
              <a:gd name="connsiteX0" fmla="*/ 8008619 w 9067800"/>
              <a:gd name="connsiteY0" fmla="*/ 541845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56256 h 5426076"/>
              <a:gd name="connsiteX5" fmla="*/ 8008619 w 9067800"/>
              <a:gd name="connsiteY5" fmla="*/ 5418456 h 5426076"/>
              <a:gd name="connsiteX0" fmla="*/ 8012429 w 9067800"/>
              <a:gd name="connsiteY0" fmla="*/ 5422266 h 5426076"/>
              <a:gd name="connsiteX1" fmla="*/ 0 w 9067800"/>
              <a:gd name="connsiteY1" fmla="*/ 5426076 h 5426076"/>
              <a:gd name="connsiteX2" fmla="*/ 2461260 w 9067800"/>
              <a:gd name="connsiteY2" fmla="*/ 0 h 5426076"/>
              <a:gd name="connsiteX3" fmla="*/ 9067799 w 9067800"/>
              <a:gd name="connsiteY3" fmla="*/ 0 h 5426076"/>
              <a:gd name="connsiteX4" fmla="*/ 9067800 w 9067800"/>
              <a:gd name="connsiteY4" fmla="*/ 3056256 h 5426076"/>
              <a:gd name="connsiteX5" fmla="*/ 8012429 w 9067800"/>
              <a:gd name="connsiteY5" fmla="*/ 5422266 h 542607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461260 w 9067800"/>
              <a:gd name="connsiteY2" fmla="*/ 0 h 5427346"/>
              <a:gd name="connsiteX3" fmla="*/ 9067799 w 9067800"/>
              <a:gd name="connsiteY3" fmla="*/ 0 h 5427346"/>
              <a:gd name="connsiteX4" fmla="*/ 9067800 w 9067800"/>
              <a:gd name="connsiteY4" fmla="*/ 30562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461260 w 9067800"/>
              <a:gd name="connsiteY2" fmla="*/ 0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446020 w 9067800"/>
              <a:gd name="connsiteY2" fmla="*/ 0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304632 w 9067800"/>
              <a:gd name="connsiteY2" fmla="*/ 8467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7971789 w 9067800"/>
              <a:gd name="connsiteY0" fmla="*/ 5427346 h 5427346"/>
              <a:gd name="connsiteX1" fmla="*/ 0 w 9067800"/>
              <a:gd name="connsiteY1" fmla="*/ 5426076 h 5427346"/>
              <a:gd name="connsiteX2" fmla="*/ 2281068 w 9067800"/>
              <a:gd name="connsiteY2" fmla="*/ 8467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7971789 w 9067800"/>
              <a:gd name="connsiteY5" fmla="*/ 5427346 h 5427346"/>
              <a:gd name="connsiteX0" fmla="*/ 8026773 w 9067800"/>
              <a:gd name="connsiteY0" fmla="*/ 5427346 h 5427346"/>
              <a:gd name="connsiteX1" fmla="*/ 0 w 9067800"/>
              <a:gd name="connsiteY1" fmla="*/ 5426076 h 5427346"/>
              <a:gd name="connsiteX2" fmla="*/ 2281068 w 9067800"/>
              <a:gd name="connsiteY2" fmla="*/ 8467 h 5427346"/>
              <a:gd name="connsiteX3" fmla="*/ 9067799 w 9067800"/>
              <a:gd name="connsiteY3" fmla="*/ 0 h 5427346"/>
              <a:gd name="connsiteX4" fmla="*/ 9067800 w 9067800"/>
              <a:gd name="connsiteY4" fmla="*/ 2980056 h 5427346"/>
              <a:gd name="connsiteX5" fmla="*/ 8026773 w 9067800"/>
              <a:gd name="connsiteY5" fmla="*/ 5427346 h 5427346"/>
              <a:gd name="connsiteX0" fmla="*/ 8042484 w 9067800"/>
              <a:gd name="connsiteY0" fmla="*/ 5435813 h 5435813"/>
              <a:gd name="connsiteX1" fmla="*/ 0 w 9067800"/>
              <a:gd name="connsiteY1" fmla="*/ 5426076 h 5435813"/>
              <a:gd name="connsiteX2" fmla="*/ 2281068 w 9067800"/>
              <a:gd name="connsiteY2" fmla="*/ 8467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26076 h 5435813"/>
              <a:gd name="connsiteX2" fmla="*/ 2281068 w 9067800"/>
              <a:gd name="connsiteY2" fmla="*/ 8467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26076 h 5435813"/>
              <a:gd name="connsiteX2" fmla="*/ 2281068 w 9067800"/>
              <a:gd name="connsiteY2" fmla="*/ 0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32426 h 5435813"/>
              <a:gd name="connsiteX2" fmla="*/ 2281068 w 9067800"/>
              <a:gd name="connsiteY2" fmla="*/ 0 h 5435813"/>
              <a:gd name="connsiteX3" fmla="*/ 9067799 w 9067800"/>
              <a:gd name="connsiteY3" fmla="*/ 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35813 h 5435813"/>
              <a:gd name="connsiteX1" fmla="*/ 0 w 9067800"/>
              <a:gd name="connsiteY1" fmla="*/ 5432426 h 5435813"/>
              <a:gd name="connsiteX2" fmla="*/ 2281068 w 9067800"/>
              <a:gd name="connsiteY2" fmla="*/ 0 h 5435813"/>
              <a:gd name="connsiteX3" fmla="*/ 9067799 w 9067800"/>
              <a:gd name="connsiteY3" fmla="*/ 19050 h 5435813"/>
              <a:gd name="connsiteX4" fmla="*/ 9067800 w 9067800"/>
              <a:gd name="connsiteY4" fmla="*/ 2980056 h 5435813"/>
              <a:gd name="connsiteX5" fmla="*/ 8042484 w 9067800"/>
              <a:gd name="connsiteY5" fmla="*/ 5435813 h 5435813"/>
              <a:gd name="connsiteX0" fmla="*/ 8042484 w 9067800"/>
              <a:gd name="connsiteY0" fmla="*/ 5416763 h 5416763"/>
              <a:gd name="connsiteX1" fmla="*/ 0 w 9067800"/>
              <a:gd name="connsiteY1" fmla="*/ 5413376 h 5416763"/>
              <a:gd name="connsiteX2" fmla="*/ 2281068 w 9067800"/>
              <a:gd name="connsiteY2" fmla="*/ 0 h 5416763"/>
              <a:gd name="connsiteX3" fmla="*/ 9067799 w 9067800"/>
              <a:gd name="connsiteY3" fmla="*/ 0 h 5416763"/>
              <a:gd name="connsiteX4" fmla="*/ 9067800 w 9067800"/>
              <a:gd name="connsiteY4" fmla="*/ 2961006 h 5416763"/>
              <a:gd name="connsiteX5" fmla="*/ 8042484 w 9067800"/>
              <a:gd name="connsiteY5" fmla="*/ 5416763 h 5416763"/>
              <a:gd name="connsiteX0" fmla="*/ 8042484 w 9067800"/>
              <a:gd name="connsiteY0" fmla="*/ 5416763 h 5416763"/>
              <a:gd name="connsiteX1" fmla="*/ 0 w 9067800"/>
              <a:gd name="connsiteY1" fmla="*/ 5413376 h 5416763"/>
              <a:gd name="connsiteX2" fmla="*/ 2281068 w 9067800"/>
              <a:gd name="connsiteY2" fmla="*/ 0 h 5416763"/>
              <a:gd name="connsiteX3" fmla="*/ 9067799 w 9067800"/>
              <a:gd name="connsiteY3" fmla="*/ 0 h 5416763"/>
              <a:gd name="connsiteX4" fmla="*/ 9067800 w 9067800"/>
              <a:gd name="connsiteY4" fmla="*/ 2961006 h 5416763"/>
              <a:gd name="connsiteX5" fmla="*/ 8042484 w 9067800"/>
              <a:gd name="connsiteY5" fmla="*/ 5416763 h 5416763"/>
              <a:gd name="connsiteX0" fmla="*/ 8024811 w 9050127"/>
              <a:gd name="connsiteY0" fmla="*/ 5416763 h 5416763"/>
              <a:gd name="connsiteX1" fmla="*/ 0 w 9050127"/>
              <a:gd name="connsiteY1" fmla="*/ 5413376 h 5416763"/>
              <a:gd name="connsiteX2" fmla="*/ 2263395 w 9050127"/>
              <a:gd name="connsiteY2" fmla="*/ 0 h 5416763"/>
              <a:gd name="connsiteX3" fmla="*/ 9050126 w 9050127"/>
              <a:gd name="connsiteY3" fmla="*/ 0 h 5416763"/>
              <a:gd name="connsiteX4" fmla="*/ 9050127 w 9050127"/>
              <a:gd name="connsiteY4" fmla="*/ 2961006 h 5416763"/>
              <a:gd name="connsiteX5" fmla="*/ 8024811 w 9050127"/>
              <a:gd name="connsiteY5" fmla="*/ 5416763 h 5416763"/>
              <a:gd name="connsiteX0" fmla="*/ 8030702 w 9056018"/>
              <a:gd name="connsiteY0" fmla="*/ 5416763 h 5416763"/>
              <a:gd name="connsiteX1" fmla="*/ 0 w 9056018"/>
              <a:gd name="connsiteY1" fmla="*/ 5413376 h 5416763"/>
              <a:gd name="connsiteX2" fmla="*/ 2269286 w 9056018"/>
              <a:gd name="connsiteY2" fmla="*/ 0 h 5416763"/>
              <a:gd name="connsiteX3" fmla="*/ 9056017 w 9056018"/>
              <a:gd name="connsiteY3" fmla="*/ 0 h 5416763"/>
              <a:gd name="connsiteX4" fmla="*/ 9056018 w 9056018"/>
              <a:gd name="connsiteY4" fmla="*/ 2961006 h 5416763"/>
              <a:gd name="connsiteX5" fmla="*/ 8030702 w 9056018"/>
              <a:gd name="connsiteY5" fmla="*/ 5416763 h 5416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56018" h="5416763">
                <a:moveTo>
                  <a:pt x="8030702" y="5416763"/>
                </a:moveTo>
                <a:lnTo>
                  <a:pt x="0" y="5413376"/>
                </a:lnTo>
                <a:lnTo>
                  <a:pt x="2269286" y="0"/>
                </a:lnTo>
                <a:lnTo>
                  <a:pt x="9056017" y="0"/>
                </a:lnTo>
                <a:cubicBezTo>
                  <a:pt x="9056017" y="1028912"/>
                  <a:pt x="9056018" y="1932094"/>
                  <a:pt x="9056018" y="2961006"/>
                </a:cubicBezTo>
                <a:lnTo>
                  <a:pt x="8030702" y="5416763"/>
                </a:lnTo>
                <a:close/>
              </a:path>
            </a:pathLst>
          </a:custGeom>
        </p:spPr>
        <p:txBody>
          <a:bodyPr anchor="ctr"/>
          <a:lstStyle>
            <a:lvl1pPr marL="0" indent="0" algn="ctr">
              <a:buNone/>
              <a:defRPr>
                <a:latin typeface="Segoe UI Semilight" panose="020B0402040204020203" pitchFamily="34" charset="0"/>
              </a:defRPr>
            </a:lvl1pPr>
          </a:lstStyle>
          <a:p>
            <a:r>
              <a:rPr lang="de-DE"/>
              <a:t>Abbildung hier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6200" y="1979613"/>
            <a:ext cx="3859213" cy="5953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76200" y="1363663"/>
            <a:ext cx="3859213" cy="61595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9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fld id="{0E321F2A-D7D2-4118-AAB1-4E6342795B3D}" type="datetime1">
              <a:rPr lang="en-US" smtClean="0"/>
              <a:t>9/7/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92703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ohne_Bild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6200" y="1979613"/>
            <a:ext cx="3859213" cy="5953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76200" y="1363663"/>
            <a:ext cx="3859213" cy="61595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6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fld id="{42676442-BA5A-4C0C-8230-27304465A0F9}" type="datetime1">
              <a:rPr lang="en-US" smtClean="0"/>
              <a:t>9/7/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5582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leitung_Disku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76200" y="1979613"/>
            <a:ext cx="3859213" cy="5953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Unter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76200" y="1363663"/>
            <a:ext cx="3859213" cy="615950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Titel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/>
          <a:srcRect r="5525" b="12843"/>
          <a:stretch/>
        </p:blipFill>
        <p:spPr>
          <a:xfrm>
            <a:off x="1261534" y="2901960"/>
            <a:ext cx="10930466" cy="3956040"/>
          </a:xfrm>
          <a:prstGeom prst="rect">
            <a:avLst/>
          </a:prstGeom>
        </p:spPr>
      </p:pic>
      <p:sp>
        <p:nvSpPr>
          <p:cNvPr id="9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fld id="{CE7880C7-5F56-45DB-A56E-CB75AFE967B9}" type="datetime1">
              <a:rPr lang="en-US" smtClean="0"/>
              <a:t>9/7/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274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79B98E-2209-42C6-9E6A-2276D8560421}" type="datetime1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0212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winkliges Dreieck 8"/>
          <p:cNvSpPr/>
          <p:nvPr userDrawn="1"/>
        </p:nvSpPr>
        <p:spPr>
          <a:xfrm flipH="1">
            <a:off x="11138666" y="4514283"/>
            <a:ext cx="1053333" cy="2350293"/>
          </a:xfrm>
          <a:prstGeom prst="rtTriangle">
            <a:avLst/>
          </a:prstGeom>
          <a:solidFill>
            <a:schemeClr val="accent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2" name="Freihandform 11"/>
          <p:cNvSpPr/>
          <p:nvPr userDrawn="1"/>
        </p:nvSpPr>
        <p:spPr>
          <a:xfrm>
            <a:off x="0" y="3281615"/>
            <a:ext cx="6470658" cy="3576385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49" y="5865807"/>
            <a:ext cx="5563339" cy="47625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sz="1800"/>
              <a:t>Vortragender/Vortragende</a:t>
            </a:r>
            <a:endParaRPr lang="de-DE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fld id="{DA4E8008-3760-45E5-8E56-F7210523E3D9}" type="datetime1">
              <a:rPr lang="en-US" smtClean="0"/>
              <a:t>9/7/202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8" y="4485216"/>
            <a:ext cx="5563339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800" b="1" baseline="0" dirty="0">
                <a:solidFill>
                  <a:srgbClr val="356CA5"/>
                </a:solidFill>
              </a:defRPr>
            </a:lvl1pPr>
          </a:lstStyle>
          <a:p>
            <a:pPr marL="228600" marR="0" lvl="0" indent="-2286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Mastertextformat bearbeiten</a:t>
            </a:r>
          </a:p>
        </p:txBody>
      </p:sp>
      <p:sp>
        <p:nvSpPr>
          <p:cNvPr id="42" name="Freihandform 41"/>
          <p:cNvSpPr/>
          <p:nvPr userDrawn="1"/>
        </p:nvSpPr>
        <p:spPr>
          <a:xfrm>
            <a:off x="3163802" y="2052787"/>
            <a:ext cx="2539270" cy="454736"/>
          </a:xfrm>
          <a:custGeom>
            <a:avLst/>
            <a:gdLst>
              <a:gd name="connsiteX0" fmla="*/ 0 w 2539270"/>
              <a:gd name="connsiteY0" fmla="*/ 0 h 454736"/>
              <a:gd name="connsiteX1" fmla="*/ 592058 w 2539270"/>
              <a:gd name="connsiteY1" fmla="*/ 453911 h 454736"/>
              <a:gd name="connsiteX2" fmla="*/ 1828800 w 2539270"/>
              <a:gd name="connsiteY2" fmla="*/ 111833 h 454736"/>
              <a:gd name="connsiteX3" fmla="*/ 2539270 w 2539270"/>
              <a:gd name="connsiteY3" fmla="*/ 105255 h 45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9270" h="454736">
                <a:moveTo>
                  <a:pt x="0" y="0"/>
                </a:moveTo>
                <a:cubicBezTo>
                  <a:pt x="143629" y="217636"/>
                  <a:pt x="287258" y="435272"/>
                  <a:pt x="592058" y="453911"/>
                </a:cubicBezTo>
                <a:cubicBezTo>
                  <a:pt x="896858" y="472550"/>
                  <a:pt x="1504265" y="169942"/>
                  <a:pt x="1828800" y="111833"/>
                </a:cubicBezTo>
                <a:cubicBezTo>
                  <a:pt x="2153335" y="53724"/>
                  <a:pt x="2346302" y="79489"/>
                  <a:pt x="2539270" y="105255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3" name="Sechseck 42"/>
          <p:cNvSpPr/>
          <p:nvPr userDrawn="1"/>
        </p:nvSpPr>
        <p:spPr>
          <a:xfrm rot="10800000">
            <a:off x="9017501" y="1808383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Sechseck 45"/>
          <p:cNvSpPr/>
          <p:nvPr userDrawn="1"/>
        </p:nvSpPr>
        <p:spPr>
          <a:xfrm rot="10800000">
            <a:off x="5703987" y="1524615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Sechseck 46"/>
          <p:cNvSpPr/>
          <p:nvPr userDrawn="1"/>
        </p:nvSpPr>
        <p:spPr>
          <a:xfrm rot="10800000">
            <a:off x="2067964" y="763524"/>
            <a:ext cx="1490134" cy="1286933"/>
          </a:xfrm>
          <a:prstGeom prst="hexagon">
            <a:avLst>
              <a:gd name="adj" fmla="val 28886"/>
              <a:gd name="vf" fmla="val 115470"/>
            </a:avLst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5944356" y="1675543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/>
              <a:t>Icon</a:t>
            </a:r>
          </a:p>
        </p:txBody>
      </p:sp>
      <p:sp>
        <p:nvSpPr>
          <p:cNvPr id="5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2308334" y="914453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/>
              <a:t>Icon</a:t>
            </a:r>
          </a:p>
        </p:txBody>
      </p:sp>
      <p:sp>
        <p:nvSpPr>
          <p:cNvPr id="56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9257871" y="1959311"/>
            <a:ext cx="1009394" cy="9850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ctr">
              <a:buNone/>
              <a:defRPr lang="de-DE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de-DE"/>
              <a:t>Icon</a:t>
            </a:r>
          </a:p>
        </p:txBody>
      </p:sp>
      <p:sp>
        <p:nvSpPr>
          <p:cNvPr id="57" name="Ellipse 56"/>
          <p:cNvSpPr/>
          <p:nvPr userDrawn="1"/>
        </p:nvSpPr>
        <p:spPr>
          <a:xfrm>
            <a:off x="2941132" y="1844617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Ellipse 57"/>
          <p:cNvSpPr/>
          <p:nvPr userDrawn="1"/>
        </p:nvSpPr>
        <p:spPr>
          <a:xfrm>
            <a:off x="5476707" y="1947948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Ellipse 58"/>
          <p:cNvSpPr/>
          <p:nvPr userDrawn="1"/>
        </p:nvSpPr>
        <p:spPr>
          <a:xfrm>
            <a:off x="6623038" y="2591414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Ellipse 59"/>
          <p:cNvSpPr/>
          <p:nvPr userDrawn="1"/>
        </p:nvSpPr>
        <p:spPr>
          <a:xfrm>
            <a:off x="8793134" y="2231715"/>
            <a:ext cx="448734" cy="44026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Freihandform 60"/>
          <p:cNvSpPr/>
          <p:nvPr userDrawn="1"/>
        </p:nvSpPr>
        <p:spPr>
          <a:xfrm>
            <a:off x="6821402" y="2443246"/>
            <a:ext cx="2190613" cy="701844"/>
          </a:xfrm>
          <a:custGeom>
            <a:avLst/>
            <a:gdLst>
              <a:gd name="connsiteX0" fmla="*/ 0 w 2190613"/>
              <a:gd name="connsiteY0" fmla="*/ 372638 h 701844"/>
              <a:gd name="connsiteX1" fmla="*/ 453911 w 2190613"/>
              <a:gd name="connsiteY1" fmla="*/ 694980 h 701844"/>
              <a:gd name="connsiteX2" fmla="*/ 1124910 w 2190613"/>
              <a:gd name="connsiteY2" fmla="*/ 102923 h 701844"/>
              <a:gd name="connsiteX3" fmla="*/ 2190613 w 2190613"/>
              <a:gd name="connsiteY3" fmla="*/ 4246 h 701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0613" h="701844">
                <a:moveTo>
                  <a:pt x="0" y="372638"/>
                </a:moveTo>
                <a:cubicBezTo>
                  <a:pt x="133213" y="556285"/>
                  <a:pt x="266426" y="739933"/>
                  <a:pt x="453911" y="694980"/>
                </a:cubicBezTo>
                <a:cubicBezTo>
                  <a:pt x="641396" y="650028"/>
                  <a:pt x="835460" y="218045"/>
                  <a:pt x="1124910" y="102923"/>
                </a:cubicBezTo>
                <a:cubicBezTo>
                  <a:pt x="1414360" y="-12199"/>
                  <a:pt x="1802486" y="-3977"/>
                  <a:pt x="2190613" y="4246"/>
                </a:cubicBezTo>
              </a:path>
            </a:pathLst>
          </a:custGeom>
          <a:noFill/>
          <a:ln w="28575">
            <a:solidFill>
              <a:schemeClr val="bg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3" name="Textfeld 22"/>
          <p:cNvSpPr txBox="1"/>
          <p:nvPr userDrawn="1"/>
        </p:nvSpPr>
        <p:spPr>
          <a:xfrm>
            <a:off x="11223059" y="6328904"/>
            <a:ext cx="10533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>
                <a:solidFill>
                  <a:schemeClr val="bg1"/>
                </a:solidFill>
              </a:rPr>
              <a:t>2021</a:t>
            </a:r>
            <a:endParaRPr lang="de-DE" sz="3200" b="1">
              <a:solidFill>
                <a:schemeClr val="bg1"/>
              </a:solidFill>
            </a:endParaRPr>
          </a:p>
        </p:txBody>
      </p: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10" y="3715921"/>
            <a:ext cx="729760" cy="535157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136DE7D8-8F6A-417A-B17B-EE622A7D31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7" t="8693" r="6400" b="11051"/>
          <a:stretch/>
        </p:blipFill>
        <p:spPr>
          <a:xfrm>
            <a:off x="3741265" y="5857181"/>
            <a:ext cx="1904622" cy="50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382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B983A-0856-4EB9-8CA3-B296CF65CB95}" type="datetime1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2110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383212" y="1700213"/>
            <a:ext cx="6473507" cy="46626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b="0" baseline="0"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Inhalt 1</a:t>
            </a:r>
          </a:p>
          <a:p>
            <a:pPr lvl="0"/>
            <a:r>
              <a:rPr lang="de-DE"/>
              <a:t>Inhalt 2</a:t>
            </a:r>
          </a:p>
          <a:p>
            <a:pPr lvl="0"/>
            <a:r>
              <a:rPr lang="de-DE"/>
              <a:t>Inhalt 3</a:t>
            </a:r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54000" y="1700213"/>
            <a:ext cx="4026171" cy="466262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50000"/>
              </a:lnSpc>
              <a:buNone/>
              <a:defRPr sz="1800" b="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Uhrzeit 1</a:t>
            </a:r>
          </a:p>
          <a:p>
            <a:pPr lvl="0"/>
            <a:r>
              <a:rPr lang="de-DE"/>
              <a:t>Uhrzeit 2</a:t>
            </a:r>
          </a:p>
          <a:p>
            <a:pPr lvl="0"/>
            <a:r>
              <a:rPr lang="de-DE"/>
              <a:t>Uhrzeit 3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383213" y="8439"/>
            <a:ext cx="5646737" cy="1333133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kern="1200" dirty="0">
                <a:solidFill>
                  <a:srgbClr val="356CA5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298721" y="8439"/>
            <a:ext cx="3981450" cy="1332999"/>
          </a:xfrm>
          <a:prstGeom prst="rect">
            <a:avLst/>
          </a:prstGeom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kern="1200" dirty="0">
                <a:solidFill>
                  <a:schemeClr val="bg1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Uhrzeit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383212" y="6356350"/>
            <a:ext cx="5837237" cy="3714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de-DE" sz="2400" b="1" dirty="0">
                <a:solidFill>
                  <a:srgbClr val="356CA5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de-DE"/>
              <a:t>Fazit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11391132" y="6357875"/>
            <a:ext cx="655200" cy="3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400" kern="1200" noProof="0" smtClean="0">
                <a:solidFill>
                  <a:srgbClr val="356CA5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400" kern="1200" noProof="0">
              <a:solidFill>
                <a:srgbClr val="356CA5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83566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9"/>
          <p:cNvSpPr>
            <a:spLocks noGrp="1"/>
          </p:cNvSpPr>
          <p:nvPr>
            <p:ph type="pic" sz="quarter" idx="11" hasCustomPrompt="1"/>
          </p:nvPr>
        </p:nvSpPr>
        <p:spPr>
          <a:xfrm>
            <a:off x="5534024" y="1006792"/>
            <a:ext cx="6505575" cy="36917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Segoe UI Semilight" panose="020B0402040204020203" pitchFamily="34" charset="0"/>
              </a:defRPr>
            </a:lvl1pPr>
          </a:lstStyle>
          <a:p>
            <a:r>
              <a:rPr lang="de-DE"/>
              <a:t>Abbildung</a:t>
            </a:r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06321" y="4859945"/>
            <a:ext cx="3983129" cy="17235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 typeface="+mj-lt"/>
              <a:buNone/>
              <a:defRPr sz="1800" b="1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Name</a:t>
            </a:r>
          </a:p>
          <a:p>
            <a:pPr lvl="0"/>
            <a:r>
              <a:rPr lang="de-DE"/>
              <a:t>Telefonnummer</a:t>
            </a:r>
          </a:p>
          <a:p>
            <a:pPr lvl="0"/>
            <a:r>
              <a:rPr lang="de-DE"/>
              <a:t>Email-Adresse</a:t>
            </a:r>
          </a:p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617045" y="1006791"/>
            <a:ext cx="3691707" cy="3691707"/>
          </a:xfrm>
          <a:prstGeom prst="rect">
            <a:avLst/>
          </a:prstGeom>
          <a:ln w="28575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baseline="0">
                <a:latin typeface="Segoe UI Semilight" panose="020B0402040204020203" pitchFamily="34" charset="0"/>
              </a:defRPr>
            </a:lvl1pPr>
          </a:lstStyle>
          <a:p>
            <a:r>
              <a:rPr lang="de-DE"/>
              <a:t>Foto des/der Vortragend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5441110" y="4783746"/>
            <a:ext cx="6563565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>
                <a:latin typeface="Segoe UI Semilight" panose="020B0402040204020203" pitchFamily="34" charset="0"/>
              </a:rPr>
              <a:t>Forschungsstelle für Energiewirtschaft e. V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600">
                <a:latin typeface="Segoe UI Semilight" panose="020B0402040204020203" pitchFamily="34" charset="0"/>
              </a:rPr>
              <a:t>Am</a:t>
            </a:r>
            <a:r>
              <a:rPr lang="de-DE" sz="1600" baseline="0">
                <a:latin typeface="Segoe UI Semilight" panose="020B0402040204020203" pitchFamily="34" charset="0"/>
              </a:rPr>
              <a:t> Blütenanger 71 </a:t>
            </a:r>
            <a:r>
              <a:rPr lang="en-DE" sz="1600" baseline="0">
                <a:latin typeface="Segoe UI Semilight" panose="020B0402040204020203" pitchFamily="34" charset="0"/>
              </a:rPr>
              <a:t>–</a:t>
            </a:r>
            <a:r>
              <a:rPr lang="de-DE" sz="1600" baseline="0">
                <a:latin typeface="Segoe UI Semilight" panose="020B0402040204020203" pitchFamily="34" charset="0"/>
              </a:rPr>
              <a:t> 80995 München</a:t>
            </a:r>
          </a:p>
          <a:p>
            <a:r>
              <a:rPr lang="de-DE" sz="1600" baseline="0">
                <a:latin typeface="Segoe UI Semilight" panose="020B0402040204020203" pitchFamily="34" charset="0"/>
              </a:rPr>
              <a:t>Tel.: 	+49(0)89 15 81 21 – 0</a:t>
            </a:r>
          </a:p>
          <a:p>
            <a:r>
              <a:rPr lang="de-DE" sz="1600" baseline="0">
                <a:latin typeface="Segoe UI Semilight" panose="020B0402040204020203" pitchFamily="34" charset="0"/>
              </a:rPr>
              <a:t>Email:	</a:t>
            </a:r>
            <a:r>
              <a:rPr lang="de-DE" sz="1600" baseline="0">
                <a:latin typeface="Segoe UI Semilight" panose="020B0402040204020203" pitchFamily="34" charset="0"/>
                <a:hlinkClick r:id="rId2"/>
              </a:rPr>
              <a:t>info@ffe.de</a:t>
            </a:r>
            <a:endParaRPr lang="de-DE" sz="1600" baseline="0">
              <a:latin typeface="Segoe UI Semilight" panose="020B0402040204020203" pitchFamily="34" charset="0"/>
            </a:endParaRPr>
          </a:p>
          <a:p>
            <a:r>
              <a:rPr lang="de-DE" sz="1600">
                <a:latin typeface="Segoe UI Semilight" panose="020B0402040204020203" pitchFamily="34" charset="0"/>
              </a:rPr>
              <a:t>Internet:	</a:t>
            </a:r>
            <a:r>
              <a:rPr lang="de-DE" sz="1600">
                <a:latin typeface="Segoe UI Semilight" panose="020B0402040204020203" pitchFamily="34" charset="0"/>
                <a:hlinkClick r:id="rId3"/>
              </a:rPr>
              <a:t>www.ffe.de</a:t>
            </a:r>
            <a:endParaRPr lang="de-DE" sz="1600">
              <a:latin typeface="Segoe UI Semilight" panose="020B0402040204020203" pitchFamily="34" charset="0"/>
            </a:endParaRPr>
          </a:p>
          <a:p>
            <a:r>
              <a:rPr lang="de-DE" sz="1600">
                <a:latin typeface="Segoe UI Semilight" panose="020B0402040204020203" pitchFamily="34" charset="0"/>
              </a:rPr>
              <a:t>Twitter:	@</a:t>
            </a:r>
            <a:r>
              <a:rPr lang="de-DE" sz="1600" err="1">
                <a:latin typeface="Segoe UI Semilight" panose="020B0402040204020203" pitchFamily="34" charset="0"/>
              </a:rPr>
              <a:t>FfE_Muenchen</a:t>
            </a:r>
            <a:endParaRPr lang="de-DE" sz="1600">
              <a:latin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83003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42556-679E-44DD-A6BE-A47801EB480B}" type="datetime1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299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F6CA16-D68D-4932-B6E9-D02A33ED5FF0}" type="datetime1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2550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5383212" y="1700213"/>
            <a:ext cx="6473507" cy="46626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spcBef>
                <a:spcPts val="1000"/>
              </a:spcBef>
              <a:buNone/>
              <a:defRPr sz="1800" b="0" baseline="0"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Inhalt 1</a:t>
            </a:r>
          </a:p>
          <a:p>
            <a:pPr lvl="0"/>
            <a:r>
              <a:rPr lang="de-DE"/>
              <a:t>Inhalt 2</a:t>
            </a:r>
          </a:p>
          <a:p>
            <a:pPr lvl="0"/>
            <a:r>
              <a:rPr lang="de-DE"/>
              <a:t>Inhalt 3</a:t>
            </a:r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54000" y="1700213"/>
            <a:ext cx="4026171" cy="466262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50000"/>
              </a:lnSpc>
              <a:buNone/>
              <a:defRPr sz="1800" b="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Uhrzeit 1</a:t>
            </a:r>
          </a:p>
          <a:p>
            <a:pPr lvl="0"/>
            <a:r>
              <a:rPr lang="de-DE"/>
              <a:t>Uhrzeit 2</a:t>
            </a:r>
          </a:p>
          <a:p>
            <a:pPr lvl="0"/>
            <a:r>
              <a:rPr lang="de-DE"/>
              <a:t>Uhrzeit 3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5383213" y="8439"/>
            <a:ext cx="5646737" cy="1333133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kern="1200" dirty="0">
                <a:solidFill>
                  <a:srgbClr val="356CA5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298721" y="8439"/>
            <a:ext cx="3981450" cy="1332999"/>
          </a:xfrm>
          <a:prstGeom prst="rect">
            <a:avLst/>
          </a:prstGeom>
        </p:spPr>
        <p:txBody>
          <a:bodyPr anchor="ctr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kern="1200" dirty="0">
                <a:solidFill>
                  <a:schemeClr val="bg1"/>
                </a:solidFill>
                <a:latin typeface="Segoe UI Semilight" panose="020B04020402040202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Uhrzeit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383212" y="6356350"/>
            <a:ext cx="5837237" cy="3714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de-DE" sz="2400" b="1" dirty="0">
                <a:solidFill>
                  <a:srgbClr val="356CA5"/>
                </a:solidFill>
              </a:defRPr>
            </a:lvl1pPr>
          </a:lstStyle>
          <a:p>
            <a:pPr marL="228600" lvl="0" indent="-228600">
              <a:lnSpc>
                <a:spcPct val="100000"/>
              </a:lnSpc>
              <a:spcBef>
                <a:spcPts val="0"/>
              </a:spcBef>
            </a:pPr>
            <a:r>
              <a:rPr lang="de-DE"/>
              <a:t>Fazit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11391132" y="6357875"/>
            <a:ext cx="655200" cy="3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400" kern="1200" noProof="0" smtClean="0">
                <a:solidFill>
                  <a:srgbClr val="356CA5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400" kern="1200" noProof="0">
              <a:solidFill>
                <a:srgbClr val="356CA5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7783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9"/>
          <p:cNvSpPr>
            <a:spLocks noGrp="1"/>
          </p:cNvSpPr>
          <p:nvPr>
            <p:ph type="pic" sz="quarter" idx="11" hasCustomPrompt="1"/>
          </p:nvPr>
        </p:nvSpPr>
        <p:spPr>
          <a:xfrm>
            <a:off x="5534024" y="1006792"/>
            <a:ext cx="6505575" cy="369170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Segoe UI Semilight" panose="020B0402040204020203" pitchFamily="34" charset="0"/>
              </a:defRPr>
            </a:lvl1pPr>
          </a:lstStyle>
          <a:p>
            <a:r>
              <a:rPr lang="de-DE"/>
              <a:t>Abbildung</a:t>
            </a:r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06321" y="4859945"/>
            <a:ext cx="3983129" cy="17235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Font typeface="+mj-lt"/>
              <a:buNone/>
              <a:defRPr sz="1800" b="1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pPr lvl="0"/>
            <a:r>
              <a:rPr lang="de-DE"/>
              <a:t>Name</a:t>
            </a:r>
          </a:p>
          <a:p>
            <a:pPr lvl="0"/>
            <a:r>
              <a:rPr lang="de-DE"/>
              <a:t>Telefonnummer</a:t>
            </a:r>
          </a:p>
          <a:p>
            <a:pPr lvl="0"/>
            <a:r>
              <a:rPr lang="de-DE"/>
              <a:t>Email-Adresse</a:t>
            </a:r>
          </a:p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617045" y="1006791"/>
            <a:ext cx="3691707" cy="3691707"/>
          </a:xfrm>
          <a:prstGeom prst="rect">
            <a:avLst/>
          </a:prstGeom>
          <a:ln w="28575">
            <a:solidFill>
              <a:schemeClr val="accent3"/>
            </a:solidFill>
          </a:ln>
        </p:spPr>
        <p:txBody>
          <a:bodyPr anchor="ctr"/>
          <a:lstStyle>
            <a:lvl1pPr marL="0" indent="0" algn="ctr">
              <a:buNone/>
              <a:defRPr baseline="0">
                <a:latin typeface="Segoe UI Semilight" panose="020B0402040204020203" pitchFamily="34" charset="0"/>
              </a:defRPr>
            </a:lvl1pPr>
          </a:lstStyle>
          <a:p>
            <a:r>
              <a:rPr lang="de-DE"/>
              <a:t>Foto des/der Vortragend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5441110" y="4783746"/>
            <a:ext cx="6563565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>
                <a:latin typeface="Segoe UI Semilight" panose="020B0402040204020203" pitchFamily="34" charset="0"/>
              </a:rPr>
              <a:t>Forschungsstelle für Energiewirtschaft e. V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600">
                <a:latin typeface="Segoe UI Semilight" panose="020B0402040204020203" pitchFamily="34" charset="0"/>
              </a:rPr>
              <a:t>Am</a:t>
            </a:r>
            <a:r>
              <a:rPr lang="de-DE" sz="1600" baseline="0">
                <a:latin typeface="Segoe UI Semilight" panose="020B0402040204020203" pitchFamily="34" charset="0"/>
              </a:rPr>
              <a:t> Blütenanger 71 </a:t>
            </a:r>
            <a:r>
              <a:rPr lang="en-DE" sz="1600" baseline="0">
                <a:latin typeface="Segoe UI Semilight" panose="020B0402040204020203" pitchFamily="34" charset="0"/>
              </a:rPr>
              <a:t>–</a:t>
            </a:r>
            <a:r>
              <a:rPr lang="de-DE" sz="1600" baseline="0">
                <a:latin typeface="Segoe UI Semilight" panose="020B0402040204020203" pitchFamily="34" charset="0"/>
              </a:rPr>
              <a:t> 80995 München</a:t>
            </a:r>
          </a:p>
          <a:p>
            <a:r>
              <a:rPr lang="de-DE" sz="1600" baseline="0">
                <a:latin typeface="Segoe UI Semilight" panose="020B0402040204020203" pitchFamily="34" charset="0"/>
              </a:rPr>
              <a:t>Tel.: 	+49(0)89 15 81 21 – 0</a:t>
            </a:r>
          </a:p>
          <a:p>
            <a:r>
              <a:rPr lang="de-DE" sz="1600" baseline="0">
                <a:latin typeface="Segoe UI Semilight" panose="020B0402040204020203" pitchFamily="34" charset="0"/>
              </a:rPr>
              <a:t>Email:	</a:t>
            </a:r>
            <a:r>
              <a:rPr lang="de-DE" sz="1600" baseline="0">
                <a:latin typeface="Segoe UI Semilight" panose="020B0402040204020203" pitchFamily="34" charset="0"/>
                <a:hlinkClick r:id="rId2"/>
              </a:rPr>
              <a:t>info@ffe.de</a:t>
            </a:r>
            <a:endParaRPr lang="de-DE" sz="1600" baseline="0">
              <a:latin typeface="Segoe UI Semilight" panose="020B0402040204020203" pitchFamily="34" charset="0"/>
            </a:endParaRPr>
          </a:p>
          <a:p>
            <a:r>
              <a:rPr lang="de-DE" sz="1600">
                <a:latin typeface="Segoe UI Semilight" panose="020B0402040204020203" pitchFamily="34" charset="0"/>
              </a:rPr>
              <a:t>Internet:	</a:t>
            </a:r>
            <a:r>
              <a:rPr lang="de-DE" sz="1600">
                <a:latin typeface="Segoe UI Semilight" panose="020B0402040204020203" pitchFamily="34" charset="0"/>
                <a:hlinkClick r:id="rId3"/>
              </a:rPr>
              <a:t>www.ffe.de</a:t>
            </a:r>
            <a:endParaRPr lang="de-DE" sz="1600">
              <a:latin typeface="Segoe UI Semilight" panose="020B0402040204020203" pitchFamily="34" charset="0"/>
            </a:endParaRPr>
          </a:p>
          <a:p>
            <a:r>
              <a:rPr lang="de-DE" sz="1600">
                <a:latin typeface="Segoe UI Semilight" panose="020B0402040204020203" pitchFamily="34" charset="0"/>
              </a:rPr>
              <a:t>Twitter:	@</a:t>
            </a:r>
            <a:r>
              <a:rPr lang="de-DE" sz="1600" err="1">
                <a:latin typeface="Segoe UI Semilight" panose="020B0402040204020203" pitchFamily="34" charset="0"/>
              </a:rPr>
              <a:t>FfE_Muenchen</a:t>
            </a:r>
            <a:endParaRPr lang="de-DE" sz="1600">
              <a:latin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542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/>
          <p:cNvSpPr/>
          <p:nvPr userDrawn="1"/>
        </p:nvSpPr>
        <p:spPr>
          <a:xfrm>
            <a:off x="0" y="3281615"/>
            <a:ext cx="6470658" cy="3576385"/>
          </a:xfrm>
          <a:custGeom>
            <a:avLst/>
            <a:gdLst>
              <a:gd name="connsiteX0" fmla="*/ 0 w 6470658"/>
              <a:gd name="connsiteY0" fmla="*/ 0 h 3576385"/>
              <a:gd name="connsiteX1" fmla="*/ 6470658 w 6470658"/>
              <a:gd name="connsiteY1" fmla="*/ 2260388 h 3576385"/>
              <a:gd name="connsiteX2" fmla="*/ 5880866 w 6470658"/>
              <a:gd name="connsiteY2" fmla="*/ 3576385 h 3576385"/>
              <a:gd name="connsiteX3" fmla="*/ 0 w 6470658"/>
              <a:gd name="connsiteY3" fmla="*/ 3576385 h 3576385"/>
              <a:gd name="connsiteX4" fmla="*/ 0 w 6470658"/>
              <a:gd name="connsiteY4" fmla="*/ 0 h 3576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0658" h="3576385">
                <a:moveTo>
                  <a:pt x="0" y="0"/>
                </a:moveTo>
                <a:lnTo>
                  <a:pt x="6470658" y="2260388"/>
                </a:lnTo>
                <a:lnTo>
                  <a:pt x="5880866" y="3576385"/>
                </a:lnTo>
                <a:lnTo>
                  <a:pt x="0" y="357638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82549" y="5865807"/>
            <a:ext cx="5563339" cy="47625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de-DE" sz="1800"/>
              <a:t>Vortragender/Vortragende</a:t>
            </a:r>
            <a:endParaRPr lang="de-DE"/>
          </a:p>
        </p:txBody>
      </p:sp>
      <p:sp>
        <p:nvSpPr>
          <p:cNvPr id="2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fld id="{5891C3A7-38B6-476B-B772-DF9209CD172A}" type="datetime1">
              <a:rPr lang="en-US" smtClean="0"/>
              <a:t>9/7/2021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>
          <a:xfrm>
            <a:off x="2316163" y="6356350"/>
            <a:ext cx="3329726" cy="365125"/>
          </a:xfrm>
        </p:spPr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  <p:sp>
        <p:nvSpPr>
          <p:cNvPr id="4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82548" y="4485216"/>
            <a:ext cx="5563339" cy="1297555"/>
          </a:xfrm>
          <a:custGeom>
            <a:avLst/>
            <a:gdLst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3339 w 5563339"/>
              <a:gd name="connsiteY2" fmla="*/ 1297184 h 1297184"/>
              <a:gd name="connsiteX3" fmla="*/ 0 w 5563339"/>
              <a:gd name="connsiteY3" fmla="*/ 1297184 h 1297184"/>
              <a:gd name="connsiteX4" fmla="*/ 0 w 5563339"/>
              <a:gd name="connsiteY4" fmla="*/ 0 h 1297184"/>
              <a:gd name="connsiteX0" fmla="*/ 0 w 5563339"/>
              <a:gd name="connsiteY0" fmla="*/ 0 h 1297184"/>
              <a:gd name="connsiteX1" fmla="*/ 5563339 w 5563339"/>
              <a:gd name="connsiteY1" fmla="*/ 0 h 1297184"/>
              <a:gd name="connsiteX2" fmla="*/ 5562602 w 5563339"/>
              <a:gd name="connsiteY2" fmla="*/ 770095 h 1297184"/>
              <a:gd name="connsiteX3" fmla="*/ 5563339 w 5563339"/>
              <a:gd name="connsiteY3" fmla="*/ 1297184 h 1297184"/>
              <a:gd name="connsiteX4" fmla="*/ 0 w 5563339"/>
              <a:gd name="connsiteY4" fmla="*/ 1297184 h 1297184"/>
              <a:gd name="connsiteX5" fmla="*/ 0 w 5563339"/>
              <a:gd name="connsiteY5" fmla="*/ 0 h 1297184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3339 w 5563339"/>
              <a:gd name="connsiteY2" fmla="*/ 371 h 1297555"/>
              <a:gd name="connsiteX3" fmla="*/ 5562602 w 5563339"/>
              <a:gd name="connsiteY3" fmla="*/ 770466 h 1297555"/>
              <a:gd name="connsiteX4" fmla="*/ 5563339 w 5563339"/>
              <a:gd name="connsiteY4" fmla="*/ 1297555 h 1297555"/>
              <a:gd name="connsiteX5" fmla="*/ 0 w 5563339"/>
              <a:gd name="connsiteY5" fmla="*/ 1297555 h 1297555"/>
              <a:gd name="connsiteX6" fmla="*/ 0 w 5563339"/>
              <a:gd name="connsiteY6" fmla="*/ 371 h 1297555"/>
              <a:gd name="connsiteX0" fmla="*/ 0 w 5563339"/>
              <a:gd name="connsiteY0" fmla="*/ 371 h 1297555"/>
              <a:gd name="connsiteX1" fmla="*/ 3361269 w 5563339"/>
              <a:gd name="connsiteY1" fmla="*/ 0 h 1297555"/>
              <a:gd name="connsiteX2" fmla="*/ 5562602 w 5563339"/>
              <a:gd name="connsiteY2" fmla="*/ 770466 h 1297555"/>
              <a:gd name="connsiteX3" fmla="*/ 5563339 w 5563339"/>
              <a:gd name="connsiteY3" fmla="*/ 1297555 h 1297555"/>
              <a:gd name="connsiteX4" fmla="*/ 0 w 5563339"/>
              <a:gd name="connsiteY4" fmla="*/ 1297555 h 1297555"/>
              <a:gd name="connsiteX5" fmla="*/ 0 w 5563339"/>
              <a:gd name="connsiteY5" fmla="*/ 371 h 12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3339" h="1297555">
                <a:moveTo>
                  <a:pt x="0" y="371"/>
                </a:moveTo>
                <a:lnTo>
                  <a:pt x="3361269" y="0"/>
                </a:lnTo>
                <a:lnTo>
                  <a:pt x="5562602" y="770466"/>
                </a:lnTo>
                <a:cubicBezTo>
                  <a:pt x="5562848" y="946162"/>
                  <a:pt x="5563093" y="1121859"/>
                  <a:pt x="5563339" y="1297555"/>
                </a:cubicBezTo>
                <a:lnTo>
                  <a:pt x="0" y="1297555"/>
                </a:lnTo>
                <a:lnTo>
                  <a:pt x="0" y="371"/>
                </a:lnTo>
                <a:close/>
              </a:path>
            </a:pathLst>
          </a:custGeom>
        </p:spPr>
        <p:txBody>
          <a:bodyPr wrap="square" anchor="b">
            <a:normAutofit/>
          </a:bodyPr>
          <a:lstStyle>
            <a:lvl1pPr marL="0" indent="0">
              <a:buNone/>
              <a:defRPr lang="de-DE" sz="2800" b="1" baseline="0" dirty="0">
                <a:solidFill>
                  <a:srgbClr val="356CA5"/>
                </a:solidFill>
              </a:defRPr>
            </a:lvl1pPr>
          </a:lstStyle>
          <a:p>
            <a:pPr marL="228600" marR="0" lvl="0" indent="-2286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/>
              <a:t>Mastertextformat bearbeiten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610" y="3715921"/>
            <a:ext cx="729760" cy="535157"/>
          </a:xfrm>
          <a:prstGeom prst="rect">
            <a:avLst/>
          </a:prstGeom>
        </p:spPr>
      </p:pic>
      <p:sp>
        <p:nvSpPr>
          <p:cNvPr id="14" name="Rechtwinkliges Dreieck 13"/>
          <p:cNvSpPr/>
          <p:nvPr userDrawn="1"/>
        </p:nvSpPr>
        <p:spPr>
          <a:xfrm flipH="1">
            <a:off x="11138666" y="4514283"/>
            <a:ext cx="1053333" cy="2350293"/>
          </a:xfrm>
          <a:prstGeom prst="rtTriangle">
            <a:avLst/>
          </a:prstGeom>
          <a:solidFill>
            <a:schemeClr val="accent5"/>
          </a:solidFill>
          <a:ln>
            <a:noFill/>
          </a:ln>
          <a:effectLst>
            <a:outerShdw blurRad="3556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5" name="Textfeld 14"/>
          <p:cNvSpPr txBox="1"/>
          <p:nvPr userDrawn="1"/>
        </p:nvSpPr>
        <p:spPr>
          <a:xfrm>
            <a:off x="11223059" y="6328904"/>
            <a:ext cx="10533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>
                <a:solidFill>
                  <a:schemeClr val="bg1"/>
                </a:solidFill>
              </a:rPr>
              <a:t>2021</a:t>
            </a:r>
            <a:endParaRPr lang="de-DE" sz="3200" b="1">
              <a:solidFill>
                <a:schemeClr val="bg1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409DFC1-5803-4777-AF72-487D3C8386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7" t="8693" r="6400" b="11051"/>
          <a:stretch/>
        </p:blipFill>
        <p:spPr>
          <a:xfrm>
            <a:off x="3741265" y="5857181"/>
            <a:ext cx="1904622" cy="50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2536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10433185" cy="4511676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7429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001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 marL="16573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4pPr>
            <a:lvl5pPr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5453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>
          <p15:clr>
            <a:srgbClr val="FBAE40"/>
          </p15:clr>
        </p15:guide>
        <p15:guide id="5" pos="706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6943142" cy="4511676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7429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001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 marL="16573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4pPr>
            <a:lvl5pPr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Überschrift einfüg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7767817" y="2483582"/>
            <a:ext cx="3446806" cy="323386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3409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>
          <p15:clr>
            <a:srgbClr val="FBAE40"/>
          </p15:clr>
        </p15:guide>
        <p15:guide id="5" pos="706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2BFDEF-4FA2-43E7-BD3C-6EE7EEA971EF}" type="datetime1">
              <a:rPr lang="en-US" smtClean="0"/>
              <a:t>9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1609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1B6E62-7FEC-46E2-B00E-96922FD84A70}" type="datetime1">
              <a:rPr lang="en-US" smtClean="0"/>
              <a:t>9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for Energy Economy and Applications Technology, TUM | FfE | Master Thesis | Basil Bukhari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344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10433185" cy="4511676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7429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001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 marL="16573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4pPr>
            <a:lvl5pPr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Überschrift ein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3845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 userDrawn="1">
          <p15:clr>
            <a:srgbClr val="FBAE40"/>
          </p15:clr>
        </p15:guide>
        <p15:guide id="5" pos="706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6943142" cy="4511676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1pPr>
            <a:lvl2pPr marL="7429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2pPr>
            <a:lvl3pPr marL="12001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3pPr>
            <a:lvl4pPr marL="1657350" indent="-285750">
              <a:buClrTx/>
              <a:buFont typeface="Arial" panose="020B0604020202020204" pitchFamily="34" charset="0"/>
              <a:buChar char="•"/>
              <a:defRPr sz="1600">
                <a:latin typeface="Segoe UI Semilight" panose="020B0402040204020203" pitchFamily="34" charset="0"/>
              </a:defRPr>
            </a:lvl4pPr>
            <a:lvl5pPr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Überschrift einfüg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7767817" y="2483582"/>
            <a:ext cx="3446806" cy="323386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None/>
            </a:pPr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9342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481">
          <p15:clr>
            <a:srgbClr val="FBAE40"/>
          </p15:clr>
        </p15:guide>
        <p15:guide id="5" pos="706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6.jpeg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9.xml"/><Relationship Id="rId5" Type="http://schemas.openxmlformats.org/officeDocument/2006/relationships/theme" Target="../theme/theme4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heme" Target="../theme/theme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17025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47" imgH="348" progId="TCLayout.ActiveDocument.1">
                  <p:embed/>
                </p:oleObj>
              </mc:Choice>
              <mc:Fallback>
                <p:oleObj name="think-cell Folie" r:id="rId10" imgW="347" imgH="34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2316162" y="6356350"/>
            <a:ext cx="33509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>
                <a:latin typeface="+mj-lt"/>
              </a:defRPr>
            </a:lvl1pPr>
          </a:lstStyle>
          <a:p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  <p:sp>
        <p:nvSpPr>
          <p:cNvPr id="4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fld id="{95DF2758-F95A-473C-B9AC-0BAC49AEAB32}" type="datetime1">
              <a:rPr lang="en-US" smtClean="0"/>
              <a:t>9/7/2021</a:t>
            </a:fld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399"/>
          <a:stretch/>
        </p:blipFill>
        <p:spPr>
          <a:xfrm>
            <a:off x="0" y="-1"/>
            <a:ext cx="12192000" cy="686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425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43" r:id="rId6"/>
    <p:sldLayoutId id="214748374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72407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7" imgH="348" progId="TCLayout.ActiveDocument.1">
                  <p:embed/>
                </p:oleObj>
              </mc:Choice>
              <mc:Fallback>
                <p:oleObj name="think-cell Folie" r:id="rId12" imgW="347" imgH="34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800" b="1" i="0" baseline="0">
              <a:latin typeface="Segoe UI Semilight" panose="020B0402040204020203" pitchFamily="34" charset="0"/>
              <a:ea typeface="+mj-ea"/>
              <a:cs typeface="+mj-cs"/>
              <a:sym typeface="Segoe UI Semilight" panose="020B0402040204020203" pitchFamily="34" charset="0"/>
            </a:endParaRPr>
          </a:p>
        </p:txBody>
      </p:sp>
      <p:sp>
        <p:nvSpPr>
          <p:cNvPr id="9" name="Rechtwinkliges Dreieck 8"/>
          <p:cNvSpPr/>
          <p:nvPr userDrawn="1"/>
        </p:nvSpPr>
        <p:spPr>
          <a:xfrm flipH="1">
            <a:off x="11138666" y="4514283"/>
            <a:ext cx="1053333" cy="2350293"/>
          </a:xfrm>
          <a:prstGeom prst="rtTriangle">
            <a:avLst/>
          </a:prstGeom>
          <a:gradFill>
            <a:gsLst>
              <a:gs pos="0">
                <a:schemeClr val="accent5"/>
              </a:gs>
              <a:gs pos="60000">
                <a:srgbClr val="6A97C4">
                  <a:alpha val="89804"/>
                </a:srgbClr>
              </a:gs>
              <a:gs pos="100000">
                <a:schemeClr val="accent3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Segoe UI Semilight" panose="020B0402040204020203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66763" y="8447"/>
            <a:ext cx="1044786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Überschrift ein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66763" y="1844675"/>
            <a:ext cx="10447862" cy="45005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5" y="254644"/>
            <a:ext cx="760908" cy="558000"/>
          </a:xfrm>
          <a:prstGeom prst="rect">
            <a:avLst/>
          </a:prstGeom>
        </p:spPr>
      </p:pic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66763" y="6407378"/>
            <a:ext cx="10447861" cy="3789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lang="de-DE" sz="2400" dirty="0">
                <a:solidFill>
                  <a:srgbClr val="356CA5"/>
                </a:solidFill>
              </a:defRPr>
            </a:lvl1pPr>
          </a:lstStyle>
          <a:p>
            <a:pPr>
              <a:buFont typeface="Arial" panose="020B0604020202020204" pitchFamily="34" charset="0"/>
              <a:buNone/>
            </a:pPr>
            <a:r>
              <a:rPr lang="en-US"/>
              <a:t>Chair for Energy Economy and Applications Technology, TUM | FfE | Master Thesis | Basil Bukhari</a:t>
            </a:r>
            <a:endParaRPr lang="de-DE"/>
          </a:p>
        </p:txBody>
      </p:sp>
      <p:sp>
        <p:nvSpPr>
          <p:cNvPr id="8" name="Rechteck 7"/>
          <p:cNvSpPr/>
          <p:nvPr userDrawn="1"/>
        </p:nvSpPr>
        <p:spPr>
          <a:xfrm>
            <a:off x="11391132" y="6357875"/>
            <a:ext cx="655200" cy="3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400" kern="120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400" kern="1200" noProof="0">
              <a:solidFill>
                <a:schemeClr val="bg1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0DB71FE-1028-4C40-8973-301AC36AC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7" t="8693" r="6400" b="11051"/>
          <a:stretch/>
        </p:blipFill>
        <p:spPr>
          <a:xfrm>
            <a:off x="9087424" y="254644"/>
            <a:ext cx="2121914" cy="56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450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02" r:id="rId2"/>
    <p:sldLayoutId id="2147483681" r:id="rId3"/>
    <p:sldLayoutId id="2147483701" r:id="rId4"/>
    <p:sldLayoutId id="2147483677" r:id="rId5"/>
    <p:sldLayoutId id="2147483697" r:id="rId6"/>
    <p:sldLayoutId id="2147483680" r:id="rId7"/>
    <p:sldLayoutId id="2147483745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356CA5"/>
          </a:solidFill>
          <a:latin typeface="Segoe UI Semilight" panose="020B0402040204020203" pitchFamily="34" charset="0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061" userDrawn="1">
          <p15:clr>
            <a:srgbClr val="F26B43"/>
          </p15:clr>
        </p15:guide>
        <p15:guide id="3" pos="483" userDrawn="1">
          <p15:clr>
            <a:srgbClr val="F26B43"/>
          </p15:clr>
        </p15:guide>
        <p15:guide id="4" orient="horz" pos="845" userDrawn="1">
          <p15:clr>
            <a:srgbClr val="F26B43"/>
          </p15:clr>
        </p15:guide>
        <p15:guide id="5" orient="horz" pos="3997" userDrawn="1">
          <p15:clr>
            <a:srgbClr val="F26B43"/>
          </p15:clr>
        </p15:guide>
        <p15:guide id="6" orient="horz" pos="116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15153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47" imgH="348" progId="TCLayout.ActiveDocument.1">
                  <p:embed/>
                </p:oleObj>
              </mc:Choice>
              <mc:Fallback>
                <p:oleObj name="think-cell Folie" r:id="rId8" imgW="347" imgH="34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winkliges Dreieck 7"/>
          <p:cNvSpPr/>
          <p:nvPr userDrawn="1"/>
        </p:nvSpPr>
        <p:spPr>
          <a:xfrm flipH="1">
            <a:off x="11138146" y="4514283"/>
            <a:ext cx="1053333" cy="2350293"/>
          </a:xfrm>
          <a:prstGeom prst="rtTriangle">
            <a:avLst/>
          </a:prstGeom>
          <a:gradFill>
            <a:gsLst>
              <a:gs pos="0">
                <a:schemeClr val="accent5"/>
              </a:gs>
              <a:gs pos="60000">
                <a:srgbClr val="6A97C4">
                  <a:alpha val="89804"/>
                </a:srgbClr>
              </a:gs>
              <a:gs pos="100000">
                <a:schemeClr val="accent3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Segoe UI Semilight" panose="020B0402040204020203" pitchFamily="34" charset="0"/>
            </a:endParaRPr>
          </a:p>
        </p:txBody>
      </p:sp>
      <p:sp>
        <p:nvSpPr>
          <p:cNvPr id="11" name="Freihandform 10"/>
          <p:cNvSpPr/>
          <p:nvPr userDrawn="1"/>
        </p:nvSpPr>
        <p:spPr>
          <a:xfrm>
            <a:off x="2885207" y="-1589"/>
            <a:ext cx="9306792" cy="1407600"/>
          </a:xfrm>
          <a:custGeom>
            <a:avLst/>
            <a:gdLst>
              <a:gd name="connsiteX0" fmla="*/ 0 w 9306792"/>
              <a:gd name="connsiteY0" fmla="*/ 0 h 1407600"/>
              <a:gd name="connsiteX1" fmla="*/ 8506691 w 9306792"/>
              <a:gd name="connsiteY1" fmla="*/ 0 h 1407600"/>
              <a:gd name="connsiteX2" fmla="*/ 9306792 w 9306792"/>
              <a:gd name="connsiteY2" fmla="*/ 0 h 1407600"/>
              <a:gd name="connsiteX3" fmla="*/ 9306792 w 9306792"/>
              <a:gd name="connsiteY3" fmla="*/ 1407600 h 1407600"/>
              <a:gd name="connsiteX4" fmla="*/ 8506691 w 9306792"/>
              <a:gd name="connsiteY4" fmla="*/ 1407600 h 1407600"/>
              <a:gd name="connsiteX5" fmla="*/ 1981676 w 9306792"/>
              <a:gd name="connsiteY5" fmla="*/ 1407600 h 1407600"/>
              <a:gd name="connsiteX6" fmla="*/ 0 w 9306792"/>
              <a:gd name="connsiteY6" fmla="*/ 6060 h 140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06792" h="1407600">
                <a:moveTo>
                  <a:pt x="0" y="0"/>
                </a:moveTo>
                <a:lnTo>
                  <a:pt x="8506691" y="0"/>
                </a:lnTo>
                <a:lnTo>
                  <a:pt x="9306792" y="0"/>
                </a:lnTo>
                <a:lnTo>
                  <a:pt x="9306792" y="1407600"/>
                </a:lnTo>
                <a:lnTo>
                  <a:pt x="8506691" y="1407600"/>
                </a:lnTo>
                <a:lnTo>
                  <a:pt x="1981676" y="1407600"/>
                </a:lnTo>
                <a:lnTo>
                  <a:pt x="0" y="606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/>
          </a:p>
        </p:txBody>
      </p:sp>
      <p:sp>
        <p:nvSpPr>
          <p:cNvPr id="6" name="Rechteck 3"/>
          <p:cNvSpPr/>
          <p:nvPr userDrawn="1"/>
        </p:nvSpPr>
        <p:spPr>
          <a:xfrm>
            <a:off x="-1981" y="-1589"/>
            <a:ext cx="4843064" cy="6859589"/>
          </a:xfrm>
          <a:custGeom>
            <a:avLst/>
            <a:gdLst>
              <a:gd name="connsiteX0" fmla="*/ 0 w 4658400"/>
              <a:gd name="connsiteY0" fmla="*/ 0 h 6858000"/>
              <a:gd name="connsiteX1" fmla="*/ 4658400 w 4658400"/>
              <a:gd name="connsiteY1" fmla="*/ 0 h 6858000"/>
              <a:gd name="connsiteX2" fmla="*/ 4658400 w 4658400"/>
              <a:gd name="connsiteY2" fmla="*/ 6858000 h 6858000"/>
              <a:gd name="connsiteX3" fmla="*/ 0 w 4658400"/>
              <a:gd name="connsiteY3" fmla="*/ 6858000 h 6858000"/>
              <a:gd name="connsiteX4" fmla="*/ 0 w 4658400"/>
              <a:gd name="connsiteY4" fmla="*/ 0 h 6858000"/>
              <a:gd name="connsiteX0" fmla="*/ 0 w 4658400"/>
              <a:gd name="connsiteY0" fmla="*/ 0 h 6858000"/>
              <a:gd name="connsiteX1" fmla="*/ 4658400 w 4658400"/>
              <a:gd name="connsiteY1" fmla="*/ 0 h 6858000"/>
              <a:gd name="connsiteX2" fmla="*/ 4655820 w 4658400"/>
              <a:gd name="connsiteY2" fmla="*/ 1699260 h 6858000"/>
              <a:gd name="connsiteX3" fmla="*/ 4658400 w 4658400"/>
              <a:gd name="connsiteY3" fmla="*/ 6858000 h 6858000"/>
              <a:gd name="connsiteX4" fmla="*/ 0 w 4658400"/>
              <a:gd name="connsiteY4" fmla="*/ 6858000 h 6858000"/>
              <a:gd name="connsiteX5" fmla="*/ 0 w 4658400"/>
              <a:gd name="connsiteY5" fmla="*/ 0 h 6858000"/>
              <a:gd name="connsiteX0" fmla="*/ 0 w 6299200"/>
              <a:gd name="connsiteY0" fmla="*/ 0 h 6858000"/>
              <a:gd name="connsiteX1" fmla="*/ 4658400 w 6299200"/>
              <a:gd name="connsiteY1" fmla="*/ 0 h 6858000"/>
              <a:gd name="connsiteX2" fmla="*/ 6299200 w 6299200"/>
              <a:gd name="connsiteY2" fmla="*/ 1706880 h 6858000"/>
              <a:gd name="connsiteX3" fmla="*/ 4658400 w 6299200"/>
              <a:gd name="connsiteY3" fmla="*/ 6858000 h 6858000"/>
              <a:gd name="connsiteX4" fmla="*/ 0 w 6299200"/>
              <a:gd name="connsiteY4" fmla="*/ 6858000 h 6858000"/>
              <a:gd name="connsiteX5" fmla="*/ 0 w 6299200"/>
              <a:gd name="connsiteY5" fmla="*/ 0 h 6858000"/>
              <a:gd name="connsiteX0" fmla="*/ 0 w 6550660"/>
              <a:gd name="connsiteY0" fmla="*/ 0 h 6858000"/>
              <a:gd name="connsiteX1" fmla="*/ 4658400 w 6550660"/>
              <a:gd name="connsiteY1" fmla="*/ 0 h 6858000"/>
              <a:gd name="connsiteX2" fmla="*/ 6550660 w 6550660"/>
              <a:gd name="connsiteY2" fmla="*/ 1704340 h 6858000"/>
              <a:gd name="connsiteX3" fmla="*/ 4658400 w 6550660"/>
              <a:gd name="connsiteY3" fmla="*/ 6858000 h 6858000"/>
              <a:gd name="connsiteX4" fmla="*/ 0 w 6550660"/>
              <a:gd name="connsiteY4" fmla="*/ 6858000 h 6858000"/>
              <a:gd name="connsiteX5" fmla="*/ 0 w 6550660"/>
              <a:gd name="connsiteY5" fmla="*/ 0 h 6858000"/>
              <a:gd name="connsiteX0" fmla="*/ 0 w 6591300"/>
              <a:gd name="connsiteY0" fmla="*/ 0 h 6858000"/>
              <a:gd name="connsiteX1" fmla="*/ 4658400 w 6591300"/>
              <a:gd name="connsiteY1" fmla="*/ 0 h 6858000"/>
              <a:gd name="connsiteX2" fmla="*/ 6591300 w 6591300"/>
              <a:gd name="connsiteY2" fmla="*/ 1440180 h 6858000"/>
              <a:gd name="connsiteX3" fmla="*/ 4658400 w 6591300"/>
              <a:gd name="connsiteY3" fmla="*/ 6858000 h 6858000"/>
              <a:gd name="connsiteX4" fmla="*/ 0 w 6591300"/>
              <a:gd name="connsiteY4" fmla="*/ 6858000 h 6858000"/>
              <a:gd name="connsiteX5" fmla="*/ 0 w 6591300"/>
              <a:gd name="connsiteY5" fmla="*/ 0 h 6858000"/>
              <a:gd name="connsiteX0" fmla="*/ 0 w 6987540"/>
              <a:gd name="connsiteY0" fmla="*/ 0 h 6858000"/>
              <a:gd name="connsiteX1" fmla="*/ 4658400 w 6987540"/>
              <a:gd name="connsiteY1" fmla="*/ 0 h 6858000"/>
              <a:gd name="connsiteX2" fmla="*/ 6987540 w 6987540"/>
              <a:gd name="connsiteY2" fmla="*/ 1165860 h 6858000"/>
              <a:gd name="connsiteX3" fmla="*/ 4658400 w 6987540"/>
              <a:gd name="connsiteY3" fmla="*/ 6858000 h 6858000"/>
              <a:gd name="connsiteX4" fmla="*/ 0 w 6987540"/>
              <a:gd name="connsiteY4" fmla="*/ 6858000 h 6858000"/>
              <a:gd name="connsiteX5" fmla="*/ 0 w 6987540"/>
              <a:gd name="connsiteY5" fmla="*/ 0 h 6858000"/>
              <a:gd name="connsiteX0" fmla="*/ 0 w 7184309"/>
              <a:gd name="connsiteY0" fmla="*/ 0 h 6858000"/>
              <a:gd name="connsiteX1" fmla="*/ 4658400 w 7184309"/>
              <a:gd name="connsiteY1" fmla="*/ 0 h 6858000"/>
              <a:gd name="connsiteX2" fmla="*/ 7184309 w 7184309"/>
              <a:gd name="connsiteY2" fmla="*/ 1258457 h 6858000"/>
              <a:gd name="connsiteX3" fmla="*/ 4658400 w 7184309"/>
              <a:gd name="connsiteY3" fmla="*/ 6858000 h 6858000"/>
              <a:gd name="connsiteX4" fmla="*/ 0 w 7184309"/>
              <a:gd name="connsiteY4" fmla="*/ 6858000 h 6858000"/>
              <a:gd name="connsiteX5" fmla="*/ 0 w 7184309"/>
              <a:gd name="connsiteY5" fmla="*/ 0 h 6858000"/>
              <a:gd name="connsiteX0" fmla="*/ 0 w 7325410"/>
              <a:gd name="connsiteY0" fmla="*/ 0 h 6858000"/>
              <a:gd name="connsiteX1" fmla="*/ 4658400 w 7325410"/>
              <a:gd name="connsiteY1" fmla="*/ 0 h 6858000"/>
              <a:gd name="connsiteX2" fmla="*/ 7325410 w 7325410"/>
              <a:gd name="connsiteY2" fmla="*/ 1426097 h 6858000"/>
              <a:gd name="connsiteX3" fmla="*/ 4658400 w 7325410"/>
              <a:gd name="connsiteY3" fmla="*/ 6858000 h 6858000"/>
              <a:gd name="connsiteX4" fmla="*/ 0 w 7325410"/>
              <a:gd name="connsiteY4" fmla="*/ 6858000 h 6858000"/>
              <a:gd name="connsiteX5" fmla="*/ 0 w 7325410"/>
              <a:gd name="connsiteY5" fmla="*/ 0 h 6858000"/>
              <a:gd name="connsiteX0" fmla="*/ 0 w 7325410"/>
              <a:gd name="connsiteY0" fmla="*/ 0 h 6858000"/>
              <a:gd name="connsiteX1" fmla="*/ 4658400 w 7325410"/>
              <a:gd name="connsiteY1" fmla="*/ 0 h 6858000"/>
              <a:gd name="connsiteX2" fmla="*/ 7325410 w 7325410"/>
              <a:gd name="connsiteY2" fmla="*/ 1426097 h 6858000"/>
              <a:gd name="connsiteX3" fmla="*/ 4077869 w 7325410"/>
              <a:gd name="connsiteY3" fmla="*/ 6858000 h 6858000"/>
              <a:gd name="connsiteX4" fmla="*/ 0 w 7325410"/>
              <a:gd name="connsiteY4" fmla="*/ 6858000 h 6858000"/>
              <a:gd name="connsiteX5" fmla="*/ 0 w 7325410"/>
              <a:gd name="connsiteY5" fmla="*/ 0 h 6858000"/>
              <a:gd name="connsiteX0" fmla="*/ 0 w 7325410"/>
              <a:gd name="connsiteY0" fmla="*/ 1587 h 6859587"/>
              <a:gd name="connsiteX1" fmla="*/ 919679 w 7325410"/>
              <a:gd name="connsiteY1" fmla="*/ 0 h 6859587"/>
              <a:gd name="connsiteX2" fmla="*/ 4658400 w 7325410"/>
              <a:gd name="connsiteY2" fmla="*/ 1587 h 6859587"/>
              <a:gd name="connsiteX3" fmla="*/ 7325410 w 7325410"/>
              <a:gd name="connsiteY3" fmla="*/ 1427684 h 6859587"/>
              <a:gd name="connsiteX4" fmla="*/ 4077869 w 7325410"/>
              <a:gd name="connsiteY4" fmla="*/ 6859587 h 6859587"/>
              <a:gd name="connsiteX5" fmla="*/ 0 w 7325410"/>
              <a:gd name="connsiteY5" fmla="*/ 6859587 h 6859587"/>
              <a:gd name="connsiteX6" fmla="*/ 0 w 7325410"/>
              <a:gd name="connsiteY6" fmla="*/ 1587 h 6859587"/>
              <a:gd name="connsiteX0" fmla="*/ 0 w 7325410"/>
              <a:gd name="connsiteY0" fmla="*/ 1587 h 6859589"/>
              <a:gd name="connsiteX1" fmla="*/ 919679 w 7325410"/>
              <a:gd name="connsiteY1" fmla="*/ 0 h 6859589"/>
              <a:gd name="connsiteX2" fmla="*/ 4658400 w 7325410"/>
              <a:gd name="connsiteY2" fmla="*/ 1587 h 6859589"/>
              <a:gd name="connsiteX3" fmla="*/ 7325410 w 7325410"/>
              <a:gd name="connsiteY3" fmla="*/ 1427684 h 6859589"/>
              <a:gd name="connsiteX4" fmla="*/ 4077869 w 7325410"/>
              <a:gd name="connsiteY4" fmla="*/ 6859587 h 6859589"/>
              <a:gd name="connsiteX5" fmla="*/ 919679 w 7325410"/>
              <a:gd name="connsiteY5" fmla="*/ 6859589 h 6859589"/>
              <a:gd name="connsiteX6" fmla="*/ 0 w 7325410"/>
              <a:gd name="connsiteY6" fmla="*/ 6859587 h 6859589"/>
              <a:gd name="connsiteX7" fmla="*/ 0 w 7325410"/>
              <a:gd name="connsiteY7" fmla="*/ 1587 h 6859589"/>
              <a:gd name="connsiteX0" fmla="*/ 0 w 7325410"/>
              <a:gd name="connsiteY0" fmla="*/ 1587 h 6859589"/>
              <a:gd name="connsiteX1" fmla="*/ 919679 w 7325410"/>
              <a:gd name="connsiteY1" fmla="*/ 0 h 6859589"/>
              <a:gd name="connsiteX2" fmla="*/ 4658400 w 7325410"/>
              <a:gd name="connsiteY2" fmla="*/ 1587 h 6859589"/>
              <a:gd name="connsiteX3" fmla="*/ 7325410 w 7325410"/>
              <a:gd name="connsiteY3" fmla="*/ 1427684 h 6859589"/>
              <a:gd name="connsiteX4" fmla="*/ 4077869 w 7325410"/>
              <a:gd name="connsiteY4" fmla="*/ 6859587 h 6859589"/>
              <a:gd name="connsiteX5" fmla="*/ 919679 w 7325410"/>
              <a:gd name="connsiteY5" fmla="*/ 6859589 h 6859589"/>
              <a:gd name="connsiteX6" fmla="*/ 0 w 7325410"/>
              <a:gd name="connsiteY6" fmla="*/ 1587 h 6859589"/>
              <a:gd name="connsiteX0" fmla="*/ 0 w 6405731"/>
              <a:gd name="connsiteY0" fmla="*/ 6859589 h 6859589"/>
              <a:gd name="connsiteX1" fmla="*/ 0 w 6405731"/>
              <a:gd name="connsiteY1" fmla="*/ 0 h 6859589"/>
              <a:gd name="connsiteX2" fmla="*/ 3738721 w 6405731"/>
              <a:gd name="connsiteY2" fmla="*/ 1587 h 6859589"/>
              <a:gd name="connsiteX3" fmla="*/ 6405731 w 6405731"/>
              <a:gd name="connsiteY3" fmla="*/ 1427684 h 6859589"/>
              <a:gd name="connsiteX4" fmla="*/ 3158190 w 6405731"/>
              <a:gd name="connsiteY4" fmla="*/ 6859587 h 6859589"/>
              <a:gd name="connsiteX5" fmla="*/ 0 w 6405731"/>
              <a:gd name="connsiteY5" fmla="*/ 6859589 h 6859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05731" h="6859589">
                <a:moveTo>
                  <a:pt x="0" y="6859589"/>
                </a:moveTo>
                <a:lnTo>
                  <a:pt x="0" y="0"/>
                </a:lnTo>
                <a:lnTo>
                  <a:pt x="3738721" y="1587"/>
                </a:lnTo>
                <a:lnTo>
                  <a:pt x="6405731" y="1427684"/>
                </a:lnTo>
                <a:lnTo>
                  <a:pt x="3158190" y="6859587"/>
                </a:lnTo>
                <a:lnTo>
                  <a:pt x="0" y="6859589"/>
                </a:lnTo>
                <a:close/>
              </a:path>
            </a:pathLst>
          </a:custGeom>
          <a:gradFill flip="none" rotWithShape="1">
            <a:gsLst>
              <a:gs pos="60000">
                <a:srgbClr val="6A97C4"/>
              </a:gs>
              <a:gs pos="0">
                <a:schemeClr val="accent5"/>
              </a:gs>
              <a:gs pos="100000">
                <a:schemeClr val="accent3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82550" y="6356350"/>
            <a:ext cx="2233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fld id="{46232C69-0E3D-45D4-924C-77FCE9B7A0A5}" type="datetime1">
              <a:rPr lang="en-US" smtClean="0"/>
              <a:t>9/7/2021</a:t>
            </a:fld>
            <a:endParaRPr lang="de-DE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4116" y="254714"/>
            <a:ext cx="761394" cy="558000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11391132" y="6357875"/>
            <a:ext cx="655200" cy="363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989E3-AE74-4E67-83E2-3A01BDA6C6B0}" type="slidenum">
              <a:rPr lang="de-DE" sz="1400" kern="1200" noProof="0" smtClean="0">
                <a:solidFill>
                  <a:schemeClr val="bg1"/>
                </a:solidFill>
                <a:latin typeface="Segoe UI Semilight" panose="020B04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400" kern="1200" noProof="0">
              <a:solidFill>
                <a:schemeClr val="bg1"/>
              </a:solidFill>
              <a:latin typeface="Segoe UI Semilight" panose="020B0402040204020203" pitchFamily="34" charset="0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328A8D3-BBF9-4A66-81B8-9490B02CC6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7" t="8693" r="6400" b="11051"/>
          <a:stretch/>
        </p:blipFill>
        <p:spPr>
          <a:xfrm>
            <a:off x="9244570" y="287456"/>
            <a:ext cx="1904622" cy="50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7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03" r:id="rId2"/>
    <p:sldLayoutId id="2147483700" r:id="rId3"/>
    <p:sldLayoutId id="2147483741" r:id="rId4"/>
    <p:sldLayoutId id="2147483742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2" userDrawn="1">
          <p15:clr>
            <a:srgbClr val="F26B43"/>
          </p15:clr>
        </p15:guide>
        <p15:guide id="3" pos="2479" userDrawn="1">
          <p15:clr>
            <a:srgbClr val="F26B43"/>
          </p15:clr>
        </p15:guide>
        <p15:guide id="4" pos="145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09108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47" imgH="348" progId="TCLayout.ActiveDocument.1">
                  <p:embed/>
                </p:oleObj>
              </mc:Choice>
              <mc:Fallback>
                <p:oleObj name="think-cell Folie" r:id="rId7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0"/>
            <a:ext cx="4855807" cy="685800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60000">
                <a:srgbClr val="6A97C4"/>
              </a:gs>
              <a:gs pos="100000">
                <a:srgbClr val="8AB5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Segoe UI Semilight" panose="020B0402040204020203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5" y="254644"/>
            <a:ext cx="760908" cy="558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F7CBD41-E50B-4BBE-B7CC-C7861A31BD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7" t="8693" r="6400" b="11051"/>
          <a:stretch/>
        </p:blipFill>
        <p:spPr>
          <a:xfrm>
            <a:off x="9279417" y="302877"/>
            <a:ext cx="1904622" cy="50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306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5" r:id="rId2"/>
    <p:sldLayoutId id="2147483738" r:id="rId3"/>
    <p:sldLayoutId id="2147483739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5" userDrawn="1">
          <p15:clr>
            <a:srgbClr val="F26B43"/>
          </p15:clr>
        </p15:guide>
        <p15:guide id="3" orient="horz" pos="3997" userDrawn="1">
          <p15:clr>
            <a:srgbClr val="F26B43"/>
          </p15:clr>
        </p15:guide>
        <p15:guide id="4" orient="horz" pos="1071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0721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0"/>
            <a:ext cx="4855807" cy="685800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60000">
                <a:srgbClr val="6A97C4"/>
              </a:gs>
              <a:gs pos="100000">
                <a:srgbClr val="8AB5E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Segoe UI Semilight" panose="020B0402040204020203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4805" y="254644"/>
            <a:ext cx="760908" cy="558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F7CBD41-E50B-4BBE-B7CC-C7861A31BD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7" t="8693" r="6400" b="11051"/>
          <a:stretch/>
        </p:blipFill>
        <p:spPr>
          <a:xfrm>
            <a:off x="9279417" y="302877"/>
            <a:ext cx="1904622" cy="50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186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5">
          <p15:clr>
            <a:srgbClr val="F26B43"/>
          </p15:clr>
        </p15:guide>
        <p15:guide id="3" orient="horz" pos="3997">
          <p15:clr>
            <a:srgbClr val="F26B43"/>
          </p15:clr>
        </p15:guide>
        <p15:guide id="4" orient="horz" pos="10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1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emf"/><Relationship Id="rId18" Type="http://schemas.openxmlformats.org/officeDocument/2006/relationships/image" Target="../media/image29.pn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12" Type="http://schemas.openxmlformats.org/officeDocument/2006/relationships/image" Target="../media/image23.jpeg"/><Relationship Id="rId17" Type="http://schemas.openxmlformats.org/officeDocument/2006/relationships/image" Target="../media/image28.jp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7.emf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4.jpeg"/><Relationship Id="rId5" Type="http://schemas.microsoft.com/office/2007/relationships/hdphoto" Target="../media/hdphoto1.wdp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6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platzhalter 16"/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" r="1716"/>
          <a:stretch>
            <a:fillRect/>
          </a:stretch>
        </p:blipFill>
        <p:spPr/>
      </p:pic>
      <p:pic>
        <p:nvPicPr>
          <p:cNvPr id="7" name="Bildplatzhalter 6"/>
          <p:cNvPicPr>
            <a:picLocks noGrp="1" noChangeAspect="1"/>
          </p:cNvPicPr>
          <p:nvPr>
            <p:ph type="pic" sz="quarter" idx="18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3" r="2693"/>
          <a:stretch>
            <a:fillRect/>
          </a:stretch>
        </p:blipFill>
        <p:spPr/>
      </p:pic>
      <p:pic>
        <p:nvPicPr>
          <p:cNvPr id="23" name="Bildplatzhalter 22"/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330" t="-6089" r="-2273" b="-3366"/>
          <a:stretch/>
        </p:blipFill>
        <p:spPr/>
      </p:pic>
      <p:sp>
        <p:nvSpPr>
          <p:cNvPr id="16" name="Textplatzhalter 15"/>
          <p:cNvSpPr>
            <a:spLocks noGrp="1"/>
          </p:cNvSpPr>
          <p:nvPr>
            <p:ph type="body" sz="quarter" idx="21"/>
          </p:nvPr>
        </p:nvSpPr>
        <p:spPr>
          <a:xfrm>
            <a:off x="82553" y="4945932"/>
            <a:ext cx="4627100" cy="1651850"/>
          </a:xfrm>
        </p:spPr>
        <p:txBody>
          <a:bodyPr wrap="square" lIns="91440" tIns="45720" rIns="91440" bIns="45720" anchor="b">
            <a:noAutofit/>
          </a:bodyPr>
          <a:lstStyle/>
          <a:p>
            <a:r>
              <a:rPr lang="de-DE" sz="2400" dirty="0"/>
              <a:t>Spitzenlastkappung durch bidirektionale Elektrofahrzeuge</a:t>
            </a:r>
            <a:endParaRPr lang="de-DE" sz="2400" b="0" dirty="0"/>
          </a:p>
          <a:p>
            <a:r>
              <a:rPr lang="de-DE" sz="1400" b="0" dirty="0">
                <a:solidFill>
                  <a:schemeClr val="tx1"/>
                </a:solidFill>
              </a:rPr>
              <a:t>Timo Kern</a:t>
            </a:r>
          </a:p>
          <a:p>
            <a:r>
              <a:rPr lang="de-DE" sz="1400" b="0" dirty="0">
                <a:solidFill>
                  <a:schemeClr val="tx1"/>
                </a:solidFill>
                <a:cs typeface="Segoe UI Semilight"/>
              </a:rPr>
              <a:t>08.09.2021</a:t>
            </a:r>
          </a:p>
        </p:txBody>
      </p:sp>
      <p:pic>
        <p:nvPicPr>
          <p:cNvPr id="19" name="Bildplatzhalter 18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840" t="-9560" r="-1853" b="-4195"/>
          <a:stretch/>
        </p:blipFill>
        <p:spPr/>
      </p:pic>
      <p:pic>
        <p:nvPicPr>
          <p:cNvPr id="22" name="Bildplatzhalter 21"/>
          <p:cNvPicPr>
            <a:picLocks noGrp="1" noChangeAspect="1"/>
          </p:cNvPicPr>
          <p:nvPr>
            <p:ph type="pic" sz="quarter" idx="19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659652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A5E3023D-6D07-4A17-953E-54C8C51A39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162" y="1676392"/>
            <a:ext cx="6401679" cy="4232530"/>
          </a:xfrm>
          <a:prstGeom prst="rect">
            <a:avLst/>
          </a:prstGeom>
        </p:spPr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9C8329D-11ED-4815-9834-9DA759BF88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5853" y="1676392"/>
            <a:ext cx="3513220" cy="4679959"/>
          </a:xfrm>
        </p:spPr>
        <p:txBody>
          <a:bodyPr/>
          <a:lstStyle/>
          <a:p>
            <a:r>
              <a:rPr lang="de-DE" dirty="0"/>
              <a:t>Erlöspotenziale der Spitzenlastkappung durch bidirektionale EVSEs korrelieren sehr stark mit den Leistungspreisen der Verteilnetzbetreiber</a:t>
            </a:r>
          </a:p>
          <a:p>
            <a:r>
              <a:rPr lang="de-DE" dirty="0"/>
              <a:t>Höheren Energiepreise anderer Unternehmen haben keinen Einfluss auf Erlöspotenziale</a:t>
            </a:r>
          </a:p>
          <a:p>
            <a:endParaRPr lang="de-DE" dirty="0"/>
          </a:p>
          <a:p>
            <a:pPr>
              <a:buFont typeface="Segoe UI Semilight" panose="020B0402040204020203" pitchFamily="34" charset="0"/>
              <a:buChar char="→"/>
            </a:pPr>
            <a:r>
              <a:rPr lang="de-DE" dirty="0"/>
              <a:t>Leistungspreis der Netzentgelte ist der alles entscheidende Faktor für das Potenzial von Spitzenlastkappu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6763" y="8447"/>
            <a:ext cx="10447861" cy="1325563"/>
          </a:xfrm>
        </p:spPr>
        <p:txBody>
          <a:bodyPr>
            <a:normAutofit/>
          </a:bodyPr>
          <a:lstStyle/>
          <a:p>
            <a:r>
              <a:rPr lang="de-DE" sz="3200" b="1" dirty="0"/>
              <a:t>Auswirkung verschiedener Netzentgelttarife </a:t>
            </a:r>
            <a:br>
              <a:rPr lang="de-DE" sz="3200" b="1" dirty="0"/>
            </a:br>
            <a:r>
              <a:rPr lang="de-DE" sz="3200" b="1" dirty="0"/>
              <a:t>auf Erlöspotenziale bidirektionaler EVSEs</a:t>
            </a:r>
            <a:endParaRPr lang="en-US" sz="32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10</a:t>
            </a:fld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46FE3D2-17EF-4206-9A34-BB7DDC12B9E2}"/>
              </a:ext>
            </a:extLst>
          </p:cNvPr>
          <p:cNvCxnSpPr/>
          <p:nvPr/>
        </p:nvCxnSpPr>
        <p:spPr>
          <a:xfrm>
            <a:off x="8037094" y="1650044"/>
            <a:ext cx="0" cy="401511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01CC495E-075F-41F6-8F90-4F1C5F9A82C3}"/>
              </a:ext>
            </a:extLst>
          </p:cNvPr>
          <p:cNvSpPr txBox="1"/>
          <p:nvPr/>
        </p:nvSpPr>
        <p:spPr>
          <a:xfrm>
            <a:off x="766762" y="6121990"/>
            <a:ext cx="1025416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solidFill>
                  <a:srgbClr val="356CA5"/>
                </a:solidFill>
                <a:latin typeface="+mj-lt"/>
              </a:rPr>
              <a:t>Erlöspotenziale korrelieren sehr stark mit Leistungspreis der Netzentgelte</a:t>
            </a:r>
            <a:endParaRPr lang="en-US" sz="2000" dirty="0">
              <a:solidFill>
                <a:srgbClr val="356CA5"/>
              </a:solidFill>
              <a:latin typeface="+mj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C5FC21-171A-459B-A089-51E6252B7F7F}"/>
              </a:ext>
            </a:extLst>
          </p:cNvPr>
          <p:cNvSpPr txBox="1"/>
          <p:nvPr/>
        </p:nvSpPr>
        <p:spPr>
          <a:xfrm rot="16200000">
            <a:off x="-804335" y="3571115"/>
            <a:ext cx="3439677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Abweichung zum VNB Bayernwerk in % </a:t>
            </a:r>
            <a:endParaRPr lang="en-US" sz="14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EA93273-336A-4FF7-92D0-55D327EC2425}"/>
              </a:ext>
            </a:extLst>
          </p:cNvPr>
          <p:cNvSpPr txBox="1"/>
          <p:nvPr/>
        </p:nvSpPr>
        <p:spPr>
          <a:xfrm>
            <a:off x="1440867" y="5738147"/>
            <a:ext cx="132203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EWE Netz</a:t>
            </a:r>
            <a:endParaRPr lang="en-US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4C84993-7BEE-4060-8CC5-4EB5B0A29219}"/>
              </a:ext>
            </a:extLst>
          </p:cNvPr>
          <p:cNvSpPr/>
          <p:nvPr/>
        </p:nvSpPr>
        <p:spPr>
          <a:xfrm>
            <a:off x="1517074" y="1534876"/>
            <a:ext cx="5855108" cy="218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5951005-98D1-4FB3-B8BA-FFB0FEBFC7C5}"/>
              </a:ext>
            </a:extLst>
          </p:cNvPr>
          <p:cNvSpPr txBox="1"/>
          <p:nvPr/>
        </p:nvSpPr>
        <p:spPr>
          <a:xfrm>
            <a:off x="3626055" y="5738147"/>
            <a:ext cx="132203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Netze BW</a:t>
            </a:r>
            <a:endParaRPr lang="en-US" sz="14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8D951F4-2634-44DA-95EE-6FC25D6ABDF7}"/>
              </a:ext>
            </a:extLst>
          </p:cNvPr>
          <p:cNvSpPr txBox="1"/>
          <p:nvPr/>
        </p:nvSpPr>
        <p:spPr>
          <a:xfrm>
            <a:off x="5813725" y="5738147"/>
            <a:ext cx="132203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WW Netz</a:t>
            </a:r>
            <a:endParaRPr lang="en-US" sz="1400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9F60A01-D30D-43A5-9660-4B69A71ED272}"/>
              </a:ext>
            </a:extLst>
          </p:cNvPr>
          <p:cNvSpPr/>
          <p:nvPr/>
        </p:nvSpPr>
        <p:spPr>
          <a:xfrm>
            <a:off x="5936672" y="1828282"/>
            <a:ext cx="1199085" cy="5018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6D26EB9A-3B0F-4556-8E50-A2A5F432F106}"/>
              </a:ext>
            </a:extLst>
          </p:cNvPr>
          <p:cNvSpPr txBox="1"/>
          <p:nvPr/>
        </p:nvSpPr>
        <p:spPr>
          <a:xfrm>
            <a:off x="5888681" y="1788414"/>
            <a:ext cx="10418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Leistungspreis</a:t>
            </a:r>
            <a:endParaRPr lang="en-US" sz="1000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B8610FF-D6A9-405C-A32F-DE4B4A7E8B0B}"/>
              </a:ext>
            </a:extLst>
          </p:cNvPr>
          <p:cNvSpPr txBox="1"/>
          <p:nvPr/>
        </p:nvSpPr>
        <p:spPr>
          <a:xfrm>
            <a:off x="5888681" y="1943065"/>
            <a:ext cx="10418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Energiepreise</a:t>
            </a:r>
            <a:endParaRPr lang="en-US" sz="1000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0F64E9FB-8BF9-49C5-954C-669A2BEE3CF8}"/>
              </a:ext>
            </a:extLst>
          </p:cNvPr>
          <p:cNvSpPr txBox="1"/>
          <p:nvPr/>
        </p:nvSpPr>
        <p:spPr>
          <a:xfrm>
            <a:off x="5888681" y="2097716"/>
            <a:ext cx="10418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Mittlere Erlöse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8374811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2AEAEC0-158A-4C95-AF21-2893C84D7B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975" y="1359512"/>
            <a:ext cx="5981307" cy="49752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Amortisationszeiten</a:t>
            </a:r>
            <a:endParaRPr lang="en-US" sz="32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11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5B77E37-9007-44C0-8667-D2E92A0A4713}"/>
              </a:ext>
            </a:extLst>
          </p:cNvPr>
          <p:cNvSpPr txBox="1"/>
          <p:nvPr/>
        </p:nvSpPr>
        <p:spPr>
          <a:xfrm rot="16200000">
            <a:off x="-356660" y="3571115"/>
            <a:ext cx="3439677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Amortisationszeit in Jahren</a:t>
            </a:r>
            <a:endParaRPr lang="en-US" sz="1400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DF2041AA-A345-425D-AF05-03526FA34E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5853" y="1676392"/>
            <a:ext cx="3513220" cy="4679959"/>
          </a:xfrm>
        </p:spPr>
        <p:txBody>
          <a:bodyPr/>
          <a:lstStyle/>
          <a:p>
            <a:r>
              <a:rPr lang="de-DE"/>
              <a:t>Zusätzlich mittelfristige Investitionskosten </a:t>
            </a:r>
            <a:r>
              <a:rPr lang="de-DE" dirty="0"/>
              <a:t>bidirektional gegenüber gesteuertes Laden sind </a:t>
            </a:r>
            <a:br>
              <a:rPr lang="de-DE" dirty="0"/>
            </a:br>
            <a:r>
              <a:rPr lang="de-DE" b="1" dirty="0"/>
              <a:t>€1,300 - €2,200</a:t>
            </a:r>
            <a:br>
              <a:rPr lang="de-DE" dirty="0"/>
            </a:br>
            <a:endParaRPr lang="de-DE" dirty="0"/>
          </a:p>
          <a:p>
            <a:r>
              <a:rPr lang="de-DE" dirty="0" err="1"/>
              <a:t>Annuitätische</a:t>
            </a:r>
            <a:r>
              <a:rPr lang="de-DE" dirty="0"/>
              <a:t> Kosten über Lebenszeit von 15 Jahren und Zinssatz von 3,5%</a:t>
            </a:r>
          </a:p>
          <a:p>
            <a:endParaRPr lang="de-DE" dirty="0"/>
          </a:p>
          <a:p>
            <a:pPr>
              <a:buFont typeface="Segoe UI Semilight" panose="020B0402040204020203" pitchFamily="34" charset="0"/>
              <a:buChar char="→"/>
            </a:pPr>
            <a:r>
              <a:rPr lang="de-DE" dirty="0"/>
              <a:t>Die Integration von einer steigenden Anzahl an EVSEs bringt höhere Amortisationszeiten mit sich. Dieser Effekt verringert sich bei höheren Spitzenlasten</a:t>
            </a:r>
          </a:p>
          <a:p>
            <a:pPr>
              <a:buFont typeface="Segoe UI Semilight" panose="020B0402040204020203" pitchFamily="34" charset="0"/>
              <a:buChar char="→"/>
            </a:pPr>
            <a:r>
              <a:rPr lang="de-DE" dirty="0"/>
              <a:t>Unternehmen mit höheren Spitzenlasten haben geringere Amortisationszeiten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4068FFF-C25D-4A17-81B9-FFCA9726BB06}"/>
              </a:ext>
            </a:extLst>
          </p:cNvPr>
          <p:cNvCxnSpPr/>
          <p:nvPr/>
        </p:nvCxnSpPr>
        <p:spPr>
          <a:xfrm>
            <a:off x="8037094" y="1650044"/>
            <a:ext cx="0" cy="401511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0749D5AC-596D-434A-BD1D-F231AF26B424}"/>
              </a:ext>
            </a:extLst>
          </p:cNvPr>
          <p:cNvSpPr txBox="1"/>
          <p:nvPr/>
        </p:nvSpPr>
        <p:spPr>
          <a:xfrm>
            <a:off x="3980139" y="6137224"/>
            <a:ext cx="104186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Spitzenlast</a:t>
            </a:r>
            <a:endParaRPr lang="en-US" sz="1400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B4BA684-BC62-479C-9132-EFBD31424563}"/>
              </a:ext>
            </a:extLst>
          </p:cNvPr>
          <p:cNvSpPr/>
          <p:nvPr/>
        </p:nvSpPr>
        <p:spPr>
          <a:xfrm>
            <a:off x="6841332" y="1469603"/>
            <a:ext cx="359569" cy="8616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6891228-1323-4BE6-9CDE-56B70EE32F6C}"/>
              </a:ext>
            </a:extLst>
          </p:cNvPr>
          <p:cNvSpPr txBox="1"/>
          <p:nvPr/>
        </p:nvSpPr>
        <p:spPr>
          <a:xfrm>
            <a:off x="6705670" y="1563522"/>
            <a:ext cx="104186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dirty="0"/>
              <a:t>1 EVSE</a:t>
            </a:r>
            <a:endParaRPr lang="en-US" sz="9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E509D93-3A0B-48A8-A7A7-F616E4F39175}"/>
              </a:ext>
            </a:extLst>
          </p:cNvPr>
          <p:cNvSpPr txBox="1"/>
          <p:nvPr/>
        </p:nvSpPr>
        <p:spPr>
          <a:xfrm>
            <a:off x="6705670" y="1708648"/>
            <a:ext cx="104186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dirty="0"/>
              <a:t>5 EVSE</a:t>
            </a:r>
            <a:endParaRPr lang="en-US" sz="90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D5B51FF-D113-4F05-A5E1-D3D22AD8508A}"/>
              </a:ext>
            </a:extLst>
          </p:cNvPr>
          <p:cNvSpPr txBox="1"/>
          <p:nvPr/>
        </p:nvSpPr>
        <p:spPr>
          <a:xfrm>
            <a:off x="6705670" y="1853774"/>
            <a:ext cx="104186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dirty="0"/>
              <a:t>10 EVSE</a:t>
            </a:r>
            <a:endParaRPr lang="en-US" sz="9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9C383C1-F0A6-4B50-B430-E598DD8913CE}"/>
              </a:ext>
            </a:extLst>
          </p:cNvPr>
          <p:cNvSpPr txBox="1"/>
          <p:nvPr/>
        </p:nvSpPr>
        <p:spPr>
          <a:xfrm>
            <a:off x="6705670" y="1998900"/>
            <a:ext cx="104186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dirty="0"/>
              <a:t>20 EVSE</a:t>
            </a:r>
            <a:endParaRPr lang="en-US" sz="9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C3C4465-0797-4DFC-9BEA-0585FD4CC577}"/>
              </a:ext>
            </a:extLst>
          </p:cNvPr>
          <p:cNvSpPr txBox="1"/>
          <p:nvPr/>
        </p:nvSpPr>
        <p:spPr>
          <a:xfrm>
            <a:off x="6705670" y="2144028"/>
            <a:ext cx="67893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dirty="0"/>
              <a:t>30 EVSE</a:t>
            </a:r>
            <a:endParaRPr lang="en-US" sz="9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CE3984EB-62C7-4D9D-95BE-F020A3A00D97}"/>
              </a:ext>
            </a:extLst>
          </p:cNvPr>
          <p:cNvSpPr/>
          <p:nvPr/>
        </p:nvSpPr>
        <p:spPr>
          <a:xfrm>
            <a:off x="3926682" y="1469603"/>
            <a:ext cx="1461084" cy="357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9B6B443-494F-4D10-878A-E0E6B5AA5469}"/>
              </a:ext>
            </a:extLst>
          </p:cNvPr>
          <p:cNvSpPr txBox="1"/>
          <p:nvPr/>
        </p:nvSpPr>
        <p:spPr>
          <a:xfrm>
            <a:off x="2150103" y="1483893"/>
            <a:ext cx="17071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dirty="0"/>
              <a:t>Amortisationszeiten &gt; 30 Jahre abgeschnitten</a:t>
            </a:r>
            <a:endParaRPr lang="en-US" sz="900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918ED4B4-28D6-4B19-A976-B5C828FA1B01}"/>
              </a:ext>
            </a:extLst>
          </p:cNvPr>
          <p:cNvSpPr txBox="1"/>
          <p:nvPr/>
        </p:nvSpPr>
        <p:spPr>
          <a:xfrm>
            <a:off x="6705670" y="1417842"/>
            <a:ext cx="104186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dirty="0"/>
              <a:t>EOL*</a:t>
            </a:r>
            <a:endParaRPr lang="en-US" sz="9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38EBFEE4-C312-4F63-917D-A5A6891ED9A3}"/>
              </a:ext>
            </a:extLst>
          </p:cNvPr>
          <p:cNvSpPr txBox="1"/>
          <p:nvPr/>
        </p:nvSpPr>
        <p:spPr>
          <a:xfrm>
            <a:off x="9618387" y="6603698"/>
            <a:ext cx="22206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/>
              <a:t>*EOL = Lebensende</a:t>
            </a:r>
          </a:p>
        </p:txBody>
      </p:sp>
    </p:spTree>
    <p:extLst>
      <p:ext uri="{BB962C8B-B14F-4D97-AF65-F5344CB8AC3E}">
        <p14:creationId xmlns:p14="http://schemas.microsoft.com/office/powerpoint/2010/main" val="15832893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56A1D7F9-4252-4026-AD13-474EDC9B76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975" y="1359512"/>
            <a:ext cx="6646644" cy="49752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Gewinn über 15 Jahre Lebenszeit</a:t>
            </a:r>
            <a:endParaRPr lang="en-US" sz="32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12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3DFF904-55F1-4EBB-B448-AF29A62C6552}"/>
              </a:ext>
            </a:extLst>
          </p:cNvPr>
          <p:cNvSpPr txBox="1"/>
          <p:nvPr/>
        </p:nvSpPr>
        <p:spPr>
          <a:xfrm rot="16200000">
            <a:off x="-347135" y="3571115"/>
            <a:ext cx="3439677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Gewinn in € bei 15-jähriger Lebenszeit</a:t>
            </a:r>
            <a:endParaRPr lang="en-US" sz="1400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94099105-DA8C-4347-890C-0BC51384AF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5853" y="1676392"/>
            <a:ext cx="3513220" cy="4679959"/>
          </a:xfrm>
        </p:spPr>
        <p:txBody>
          <a:bodyPr/>
          <a:lstStyle/>
          <a:p>
            <a:r>
              <a:rPr lang="de-DE" dirty="0"/>
              <a:t>Zusätzlich Investitionskosten bidirektional gegenüber gesteuertes Laden sind </a:t>
            </a:r>
            <a:br>
              <a:rPr lang="de-DE" dirty="0"/>
            </a:br>
            <a:r>
              <a:rPr lang="de-DE" b="1" dirty="0"/>
              <a:t>€1,300 - €2,200</a:t>
            </a:r>
            <a:br>
              <a:rPr lang="de-DE" dirty="0"/>
            </a:br>
            <a:endParaRPr lang="de-DE" dirty="0"/>
          </a:p>
          <a:p>
            <a:r>
              <a:rPr lang="de-DE" dirty="0"/>
              <a:t>Hohe Sensitivität des Gewinns von Anzahl der EVSEs und Höhe der Spitzenlast</a:t>
            </a:r>
          </a:p>
          <a:p>
            <a:endParaRPr lang="de-DE" dirty="0"/>
          </a:p>
          <a:p>
            <a:pPr>
              <a:buFont typeface="Segoe UI Semilight" panose="020B0402040204020203" pitchFamily="34" charset="0"/>
              <a:buChar char="→"/>
            </a:pPr>
            <a:r>
              <a:rPr lang="de-DE" dirty="0"/>
              <a:t>Unternehmen mit höheren Spitzenlasten können höhere Gewinne ermöglichen</a:t>
            </a:r>
          </a:p>
          <a:p>
            <a:pPr>
              <a:buFont typeface="Segoe UI Semilight" panose="020B0402040204020203" pitchFamily="34" charset="0"/>
              <a:buChar char="→"/>
            </a:pPr>
            <a:r>
              <a:rPr lang="de-DE" dirty="0"/>
              <a:t>Bis zu 10 EVSEs weisen in allen betrachteten Spitzenlastkategorien Gewinne auf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10575394-A525-4B38-A294-B76850CEB4F8}"/>
              </a:ext>
            </a:extLst>
          </p:cNvPr>
          <p:cNvCxnSpPr/>
          <p:nvPr/>
        </p:nvCxnSpPr>
        <p:spPr>
          <a:xfrm>
            <a:off x="8037094" y="1650044"/>
            <a:ext cx="0" cy="401511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91430510-CA52-45FE-A3DD-0F45FC29EF33}"/>
              </a:ext>
            </a:extLst>
          </p:cNvPr>
          <p:cNvSpPr txBox="1"/>
          <p:nvPr/>
        </p:nvSpPr>
        <p:spPr>
          <a:xfrm>
            <a:off x="4437339" y="6131391"/>
            <a:ext cx="104186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Spitzenlas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75616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E41CA0E-20F2-4AEE-B7FC-FD8C6A32A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2" y="1844675"/>
            <a:ext cx="9075737" cy="4511676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Erlöspotenziale durch Spitzenlastkappung mit bidirektionalen Elektrofahrzeugen</a:t>
            </a:r>
          </a:p>
          <a:p>
            <a:r>
              <a:rPr lang="de-DE" dirty="0"/>
              <a:t>Hohe potenzielle Erlöse im Mittel bis zu 1000 €/EVSE/a für die erste integrierte EVSE bei vielen Unternehmen</a:t>
            </a:r>
          </a:p>
          <a:p>
            <a:r>
              <a:rPr lang="de-DE" dirty="0"/>
              <a:t>Steigende Unternehmensgrößen führen zu größeren Integrationsmöglichkeiten mehrerer EVSEs</a:t>
            </a:r>
          </a:p>
          <a:p>
            <a:r>
              <a:rPr lang="de-DE" dirty="0"/>
              <a:t>Hohe Abhängigkeit des Potenzials von Leistungspreisen des zugehörigen Verteilnetzbetreibers 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b="1" dirty="0"/>
              <a:t>Kritische Einordnung</a:t>
            </a:r>
          </a:p>
          <a:p>
            <a:r>
              <a:rPr lang="de-DE" dirty="0"/>
              <a:t>Mehrwert von Spitzenlastkappung mit dem bidirektionalen Laden von Elektrofahrzeugen hängt sehr stark von spezifischem Lastprofil des Unternehmens ab</a:t>
            </a:r>
          </a:p>
          <a:p>
            <a:r>
              <a:rPr lang="de-DE" dirty="0"/>
              <a:t>Verfügbarkeit der EVs sollte mit unternehmensspezifischen </a:t>
            </a:r>
            <a:r>
              <a:rPr lang="de-DE"/>
              <a:t>Fahrprofilen simuliert werden</a:t>
            </a:r>
            <a:endParaRPr lang="de-DE" dirty="0"/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4228015-58CF-46E1-8254-D1ACCD952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fassung und kritische Einordnung</a:t>
            </a:r>
          </a:p>
        </p:txBody>
      </p:sp>
    </p:spTree>
    <p:extLst>
      <p:ext uri="{BB962C8B-B14F-4D97-AF65-F5344CB8AC3E}">
        <p14:creationId xmlns:p14="http://schemas.microsoft.com/office/powerpoint/2010/main" val="25666804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2B508BF-B5EF-4EAC-A8C6-4952012BA5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2B508BF-B5EF-4EAC-A8C6-4952012BA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Ein Bild, das Person, Mann, Kleidung, lächelnd enthält.&#10;&#10;Automatisch generierte Beschreibung">
            <a:extLst>
              <a:ext uri="{FF2B5EF4-FFF2-40B4-BE49-F238E27FC236}">
                <a16:creationId xmlns:a16="http://schemas.microsoft.com/office/drawing/2014/main" id="{A2175F52-50F0-4538-A7CC-B75441FFC94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7472" y="2286913"/>
            <a:ext cx="1692000" cy="1692000"/>
          </a:xfrm>
          <a:prstGeom prst="rect">
            <a:avLst/>
          </a:prstGeom>
          <a:ln>
            <a:solidFill>
              <a:srgbClr val="356CA5"/>
            </a:solidFill>
          </a:ln>
        </p:spPr>
      </p:pic>
      <p:sp>
        <p:nvSpPr>
          <p:cNvPr id="13" name="Textfeld 12"/>
          <p:cNvSpPr txBox="1"/>
          <p:nvPr/>
        </p:nvSpPr>
        <p:spPr>
          <a:xfrm>
            <a:off x="86614" y="2203584"/>
            <a:ext cx="2971211" cy="181222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Timo Kern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issenschaftlicher Mitarbeit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orschungsgesellschaft für Energiewirtschaft mbH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Tel.: 	+49(0)89 15 81 21– 35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Email:	tkern@ffe.de</a:t>
            </a:r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30" b="7430"/>
          <a:stretch>
            <a:fillRect/>
          </a:stretch>
        </p:blipFill>
        <p:spPr/>
      </p:pic>
      <p:sp>
        <p:nvSpPr>
          <p:cNvPr id="9" name="Textfeld 8"/>
          <p:cNvSpPr txBox="1"/>
          <p:nvPr/>
        </p:nvSpPr>
        <p:spPr>
          <a:xfrm>
            <a:off x="10777830" y="6569028"/>
            <a:ext cx="14141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otos: ©Enno </a:t>
            </a:r>
            <a:r>
              <a:rPr kumimoji="0" lang="de-DE" sz="1000" b="0" i="0" u="none" strike="noStrike" kern="1200" cap="none" spc="0" normalizeH="0" baseline="0" noProof="0" err="1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Kapitza</a:t>
            </a: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32320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platzhalter 76"/>
          <p:cNvSpPr>
            <a:spLocks noGrp="1"/>
          </p:cNvSpPr>
          <p:nvPr>
            <p:ph type="body" sz="quarter" idx="13"/>
          </p:nvPr>
        </p:nvSpPr>
        <p:spPr>
          <a:xfrm>
            <a:off x="766763" y="1844675"/>
            <a:ext cx="3961552" cy="434657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direktionales Lademanagement – </a:t>
            </a:r>
            <a:br>
              <a:rPr lang="de-DE" dirty="0"/>
            </a:br>
            <a:r>
              <a:rPr lang="de-DE" dirty="0"/>
              <a:t>BDL Elektrofahrzeuge stützen das Stromnetz 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356CA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Weiter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356CA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356CA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Informationen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356CA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356CA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unter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356CA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 ww.ffe.de/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356CA5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bdl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356CA5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  <p:grpSp>
        <p:nvGrpSpPr>
          <p:cNvPr id="78" name="Gruppieren 77"/>
          <p:cNvGrpSpPr/>
          <p:nvPr/>
        </p:nvGrpSpPr>
        <p:grpSpPr>
          <a:xfrm>
            <a:off x="774968" y="1674417"/>
            <a:ext cx="3907580" cy="4516833"/>
            <a:chOff x="774968" y="1183766"/>
            <a:chExt cx="3907580" cy="4681934"/>
          </a:xfrm>
        </p:grpSpPr>
        <p:sp>
          <p:nvSpPr>
            <p:cNvPr id="79" name="Rechteck 78"/>
            <p:cNvSpPr/>
            <p:nvPr/>
          </p:nvSpPr>
          <p:spPr>
            <a:xfrm>
              <a:off x="774968" y="1354804"/>
              <a:ext cx="3907580" cy="451089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7777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Use Cases zur systemdienlichen Nutzung von Flexibilitäten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Wirtschaftliche Umsetzung techn. Lösungskonzepte zu den Use Cas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Prüfung Regulatorik auf Umsetzbarkeit der Use Cases (Kompatibilität zum GDEW)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Demonstration der Kundenwertigkeit, sowie der </a:t>
              </a:r>
              <a:r>
                <a:rPr kumimoji="0" lang="de-D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Systemdienlichkeit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Nachweis der Wirtschaftlichkeit und des CO</a:t>
              </a:r>
              <a:r>
                <a:rPr kumimoji="0" lang="de-DE" sz="1600" b="0" i="0" u="none" strike="noStrike" kern="1200" cap="none" spc="0" normalizeH="0" baseline="-25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2</a:t>
              </a: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-Vorteil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Analyse der Auswirkungen auf die Stromnetz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80" name="Rechteck 79"/>
            <p:cNvSpPr/>
            <p:nvPr/>
          </p:nvSpPr>
          <p:spPr>
            <a:xfrm>
              <a:off x="882649" y="1183766"/>
              <a:ext cx="1537358" cy="348656"/>
            </a:xfrm>
            <a:prstGeom prst="rect">
              <a:avLst/>
            </a:prstGeom>
            <a:solidFill>
              <a:srgbClr val="356CA5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Projektziele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4736520" y="1671165"/>
            <a:ext cx="6478103" cy="4520085"/>
            <a:chOff x="4736520" y="1671165"/>
            <a:chExt cx="6478103" cy="4520085"/>
          </a:xfrm>
        </p:grpSpPr>
        <p:sp>
          <p:nvSpPr>
            <p:cNvPr id="82" name="Rechteck 81"/>
            <p:cNvSpPr/>
            <p:nvPr/>
          </p:nvSpPr>
          <p:spPr>
            <a:xfrm>
              <a:off x="4736520" y="1844675"/>
              <a:ext cx="6478103" cy="434657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7777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4769990" y="2315459"/>
              <a:ext cx="6417913" cy="3613803"/>
              <a:chOff x="2394709" y="1975758"/>
              <a:chExt cx="6475978" cy="3646498"/>
            </a:xfrm>
          </p:grpSpPr>
          <p:cxnSp>
            <p:nvCxnSpPr>
              <p:cNvPr id="11" name="Gerade Verbindung mit Pfeil 10"/>
              <p:cNvCxnSpPr/>
              <p:nvPr/>
            </p:nvCxnSpPr>
            <p:spPr>
              <a:xfrm>
                <a:off x="5645511" y="4276458"/>
                <a:ext cx="1800204" cy="11006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/>
              <p:nvPr/>
            </p:nvCxnSpPr>
            <p:spPr>
              <a:xfrm>
                <a:off x="5645423" y="2775549"/>
                <a:ext cx="1800204" cy="11006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Rechteck 12"/>
              <p:cNvSpPr/>
              <p:nvPr/>
            </p:nvSpPr>
            <p:spPr>
              <a:xfrm>
                <a:off x="2632720" y="5071741"/>
                <a:ext cx="3353182" cy="478276"/>
              </a:xfrm>
              <a:prstGeom prst="rect">
                <a:avLst/>
              </a:prstGeom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rPr>
                  <a:t>TP3: </a:t>
                </a: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rPr>
                  <a:t>Umfeld, Regulatorik, Systemanalyse und Handlungsempfehlungen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sp>
            <p:nvSpPr>
              <p:cNvPr id="14" name="Rechteck 13"/>
              <p:cNvSpPr/>
              <p:nvPr/>
            </p:nvSpPr>
            <p:spPr>
              <a:xfrm>
                <a:off x="5985902" y="5071741"/>
                <a:ext cx="2836403" cy="473712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542925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MW Group Condensed"/>
                  <a:ea typeface="+mn-ea"/>
                  <a:cs typeface="+mn-cs"/>
                </a:endParaRPr>
              </a:p>
            </p:txBody>
          </p:sp>
          <p:sp>
            <p:nvSpPr>
              <p:cNvPr id="15" name="Textfeld 14"/>
              <p:cNvSpPr txBox="1"/>
              <p:nvPr/>
            </p:nvSpPr>
            <p:spPr>
              <a:xfrm>
                <a:off x="2394709" y="4501986"/>
                <a:ext cx="3408335" cy="310562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rPr>
                  <a:t>Anforderungen</a:t>
                </a:r>
                <a:r>
                  <a: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rPr>
                  <a:t> &amp; </a:t>
                </a:r>
                <a:r>
                  <a:rPr kumimoji="0" lang="en-GB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rPr>
                  <a:t>Kommunikation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cxnSp>
            <p:nvCxnSpPr>
              <p:cNvPr id="16" name="Gerade Verbindung mit Pfeil 15"/>
              <p:cNvCxnSpPr/>
              <p:nvPr/>
            </p:nvCxnSpPr>
            <p:spPr>
              <a:xfrm>
                <a:off x="4076580" y="4817397"/>
                <a:ext cx="0" cy="180000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mit Pfeil 16"/>
              <p:cNvCxnSpPr/>
              <p:nvPr/>
            </p:nvCxnSpPr>
            <p:spPr>
              <a:xfrm>
                <a:off x="7243615" y="2280972"/>
                <a:ext cx="193613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mit Pfeil 17"/>
              <p:cNvCxnSpPr/>
              <p:nvPr/>
            </p:nvCxnSpPr>
            <p:spPr>
              <a:xfrm>
                <a:off x="6543844" y="4740594"/>
                <a:ext cx="0" cy="252906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9C934D59-31BF-4FED-9DD2-8164151852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03650" y="5160218"/>
                <a:ext cx="396000" cy="290139"/>
              </a:xfrm>
              <a:prstGeom prst="rect">
                <a:avLst/>
              </a:prstGeom>
            </p:spPr>
          </p:pic>
          <p:pic>
            <p:nvPicPr>
              <p:cNvPr id="21" name="Grafik 2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44705" y="5128322"/>
                <a:ext cx="360000" cy="339447"/>
              </a:xfrm>
              <a:prstGeom prst="rect">
                <a:avLst/>
              </a:prstGeom>
            </p:spPr>
          </p:pic>
          <p:pic>
            <p:nvPicPr>
              <p:cNvPr id="22" name="Grafik 21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72586" y="5131758"/>
                <a:ext cx="360000" cy="332575"/>
              </a:xfrm>
              <a:prstGeom prst="rect">
                <a:avLst/>
              </a:prstGeom>
            </p:spPr>
          </p:pic>
          <p:pic>
            <p:nvPicPr>
              <p:cNvPr id="23" name="Grafik 22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86819" y="5131239"/>
                <a:ext cx="360000" cy="333611"/>
              </a:xfrm>
              <a:prstGeom prst="rect">
                <a:avLst/>
              </a:prstGeom>
            </p:spPr>
          </p:pic>
          <p:sp>
            <p:nvSpPr>
              <p:cNvPr id="24" name="Textfeld 23"/>
              <p:cNvSpPr txBox="1"/>
              <p:nvPr/>
            </p:nvSpPr>
            <p:spPr>
              <a:xfrm>
                <a:off x="6658940" y="5065125"/>
                <a:ext cx="359411" cy="4658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3D84BD"/>
                    </a:solidFill>
                    <a:effectLst/>
                    <a:uLnTx/>
                    <a:uFillTx/>
                    <a:latin typeface="BMW Group Condensed"/>
                    <a:ea typeface="+mn-ea"/>
                    <a:cs typeface="+mn-cs"/>
                  </a:rPr>
                  <a:t>§</a:t>
                </a:r>
                <a:endParaRPr kumimoji="0" lang="en-GB" sz="4000" b="1" i="0" u="none" strike="noStrike" kern="1200" cap="none" spc="0" normalizeH="0" baseline="0" noProof="0" dirty="0">
                  <a:ln>
                    <a:noFill/>
                  </a:ln>
                  <a:solidFill>
                    <a:srgbClr val="3D84BD"/>
                  </a:solidFill>
                  <a:effectLst/>
                  <a:uLnTx/>
                  <a:uFillTx/>
                  <a:latin typeface="BMW Group Condensed"/>
                  <a:ea typeface="+mn-ea"/>
                  <a:cs typeface="+mn-cs"/>
                </a:endParaRPr>
              </a:p>
            </p:txBody>
          </p:sp>
          <p:grpSp>
            <p:nvGrpSpPr>
              <p:cNvPr id="25" name="Gruppieren 24"/>
              <p:cNvGrpSpPr/>
              <p:nvPr/>
            </p:nvGrpSpPr>
            <p:grpSpPr>
              <a:xfrm>
                <a:off x="2514598" y="1975758"/>
                <a:ext cx="5858684" cy="2823160"/>
                <a:chOff x="488948" y="1048658"/>
                <a:chExt cx="5858684" cy="2823160"/>
              </a:xfrm>
            </p:grpSpPr>
            <p:sp>
              <p:nvSpPr>
                <p:cNvPr id="56" name="Rechteck 55"/>
                <p:cNvSpPr/>
                <p:nvPr/>
              </p:nvSpPr>
              <p:spPr>
                <a:xfrm>
                  <a:off x="613509" y="2647822"/>
                  <a:ext cx="1341063" cy="936272"/>
                </a:xfrm>
                <a:prstGeom prst="rect">
                  <a:avLst/>
                </a:prstGeom>
                <a:noFill/>
                <a:ln w="19050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542925" marR="0" lvl="0" indent="-17145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MW Group Condensed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Rechteck 56"/>
                <p:cNvSpPr/>
                <p:nvPr/>
              </p:nvSpPr>
              <p:spPr>
                <a:xfrm>
                  <a:off x="488948" y="1048658"/>
                  <a:ext cx="3123965" cy="1353217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latin typeface="BMW Group Condensed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Textfeld 57"/>
                <p:cNvSpPr txBox="1"/>
                <p:nvPr/>
              </p:nvSpPr>
              <p:spPr>
                <a:xfrm>
                  <a:off x="1334860" y="2113713"/>
                  <a:ext cx="1620263" cy="310562"/>
                </a:xfrm>
                <a:prstGeom prst="rect">
                  <a:avLst/>
                </a:prstGeom>
                <a:noFill/>
              </p:spPr>
              <p:txBody>
                <a:bodyPr vert="horz"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Hardware B</a:t>
                  </a:r>
                  <a:r>
                    <a:rPr kumimoji="0" lang="en-GB" sz="14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asis</a:t>
                  </a:r>
                  <a:endPara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pic>
              <p:nvPicPr>
                <p:cNvPr id="59" name="Grafik 19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00293" y="1772557"/>
                  <a:ext cx="847339" cy="3988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0" name="Rechteck 59"/>
                <p:cNvSpPr/>
                <p:nvPr/>
              </p:nvSpPr>
              <p:spPr>
                <a:xfrm>
                  <a:off x="488948" y="2578476"/>
                  <a:ext cx="3123965" cy="1293342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latin typeface="BMW Group Condensed"/>
                    <a:ea typeface="+mn-ea"/>
                    <a:cs typeface="+mn-cs"/>
                  </a:endParaRPr>
                </a:p>
              </p:txBody>
            </p:sp>
            <p:cxnSp>
              <p:nvCxnSpPr>
                <p:cNvPr id="61" name="Gerader Verbinder 60"/>
                <p:cNvCxnSpPr/>
                <p:nvPr/>
              </p:nvCxnSpPr>
              <p:spPr>
                <a:xfrm>
                  <a:off x="1966794" y="1604587"/>
                  <a:ext cx="199669" cy="0"/>
                </a:xfrm>
                <a:prstGeom prst="line">
                  <a:avLst/>
                </a:prstGeom>
                <a:ln w="38100" cap="flat" cmpd="sng" algn="ctr">
                  <a:solidFill>
                    <a:srgbClr val="00B0F0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Gerade Verbindung mit Pfeil 61"/>
                <p:cNvCxnSpPr/>
                <p:nvPr/>
              </p:nvCxnSpPr>
              <p:spPr>
                <a:xfrm>
                  <a:off x="2845227" y="2406767"/>
                  <a:ext cx="0" cy="180000"/>
                </a:xfrm>
                <a:prstGeom prst="straightConnector1">
                  <a:avLst/>
                </a:prstGeom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Gerade Verbindung mit Pfeil 62"/>
                <p:cNvCxnSpPr/>
                <p:nvPr/>
              </p:nvCxnSpPr>
              <p:spPr>
                <a:xfrm flipH="1">
                  <a:off x="1302067" y="2407685"/>
                  <a:ext cx="0" cy="180000"/>
                </a:xfrm>
                <a:prstGeom prst="straightConnector1">
                  <a:avLst/>
                </a:prstGeom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4" name="Bild 8" descr="BMWMINIRR_5fbg Kopie.jpg">
                  <a:extLst>
                    <a:ext uri="{FF2B5EF4-FFF2-40B4-BE49-F238E27FC236}">
                      <a16:creationId xmlns:a16="http://schemas.microsoft.com/office/drawing/2014/main" id="{FE63B5B0-855E-40B9-A177-E10860F940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78805"/>
                <a:stretch/>
              </p:blipFill>
              <p:spPr bwMode="auto">
                <a:xfrm>
                  <a:off x="1546157" y="3183568"/>
                  <a:ext cx="296260" cy="2932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5" name="Rechteck 64"/>
                <p:cNvSpPr/>
                <p:nvPr/>
              </p:nvSpPr>
              <p:spPr>
                <a:xfrm>
                  <a:off x="615867" y="2645702"/>
                  <a:ext cx="1332266" cy="482796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TP4: Behind </a:t>
                  </a:r>
                  <a:r>
                    <a:rPr kumimoji="0" lang="en-GB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th</a:t>
                  </a: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e meter</a:t>
                  </a:r>
                </a:p>
              </p:txBody>
            </p:sp>
            <p:sp>
              <p:nvSpPr>
                <p:cNvPr id="66" name="Rechteck 65"/>
                <p:cNvSpPr/>
                <p:nvPr/>
              </p:nvSpPr>
              <p:spPr>
                <a:xfrm>
                  <a:off x="607070" y="1111758"/>
                  <a:ext cx="1341062" cy="985658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542925" marR="0" lvl="0" indent="-17145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MW Group Condensed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Rechteck 66"/>
                <p:cNvSpPr/>
                <p:nvPr/>
              </p:nvSpPr>
              <p:spPr>
                <a:xfrm>
                  <a:off x="607070" y="1111757"/>
                  <a:ext cx="1341092" cy="482796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TP1: </a:t>
                  </a:r>
                  <a:r>
                    <a:rPr kumimoji="0" lang="en-GB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Fahrzeug</a:t>
                  </a:r>
                  <a:endPara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pic>
              <p:nvPicPr>
                <p:cNvPr id="68" name="Grafik 67"/>
                <p:cNvPicPr>
                  <a:picLocks noChangeAspect="1"/>
                </p:cNvPicPr>
                <p:nvPr/>
              </p:nvPicPr>
              <p:blipFill rotWithShape="1"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4740" r="18631"/>
                <a:stretch/>
              </p:blipFill>
              <p:spPr>
                <a:xfrm>
                  <a:off x="641319" y="1612691"/>
                  <a:ext cx="847339" cy="488826"/>
                </a:xfrm>
                <a:prstGeom prst="rect">
                  <a:avLst/>
                </a:prstGeom>
              </p:spPr>
            </p:pic>
            <p:pic>
              <p:nvPicPr>
                <p:cNvPr id="69" name="Bild 8" descr="BMWMINIRR_5fbg Kopie.jpg">
                  <a:extLst>
                    <a:ext uri="{FF2B5EF4-FFF2-40B4-BE49-F238E27FC236}">
                      <a16:creationId xmlns:a16="http://schemas.microsoft.com/office/drawing/2014/main" id="{27F34126-6C2B-4EC3-B4E1-6AAC854957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78805"/>
                <a:stretch/>
              </p:blipFill>
              <p:spPr bwMode="auto">
                <a:xfrm>
                  <a:off x="1572626" y="1711010"/>
                  <a:ext cx="296260" cy="2932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0" name="Rechteck 69"/>
                <p:cNvSpPr/>
                <p:nvPr/>
              </p:nvSpPr>
              <p:spPr>
                <a:xfrm>
                  <a:off x="2147801" y="1111757"/>
                  <a:ext cx="1361394" cy="985659"/>
                </a:xfrm>
                <a:prstGeom prst="rect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542925" marR="0" lvl="0" indent="-17145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MW Group Condensed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Rechteck 70"/>
                <p:cNvSpPr/>
                <p:nvPr/>
              </p:nvSpPr>
              <p:spPr>
                <a:xfrm>
                  <a:off x="2147800" y="1111757"/>
                  <a:ext cx="1361395" cy="482796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TP2: Wallbox</a:t>
                  </a:r>
                </a:p>
              </p:txBody>
            </p:sp>
            <p:pic>
              <p:nvPicPr>
                <p:cNvPr id="72" name="Grafik 71">
                  <a:extLst>
                    <a:ext uri="{FF2B5EF4-FFF2-40B4-BE49-F238E27FC236}">
                      <a16:creationId xmlns:a16="http://schemas.microsoft.com/office/drawing/2014/main" id="{F51F1891-9A76-42B2-AF2F-3813E317932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92107" y="1759981"/>
                  <a:ext cx="675613" cy="145010"/>
                </a:xfrm>
                <a:prstGeom prst="rect">
                  <a:avLst/>
                </a:prstGeom>
              </p:spPr>
            </p:pic>
            <p:sp>
              <p:nvSpPr>
                <p:cNvPr id="73" name="Rechteck 72"/>
                <p:cNvSpPr/>
                <p:nvPr/>
              </p:nvSpPr>
              <p:spPr>
                <a:xfrm>
                  <a:off x="2147800" y="2650080"/>
                  <a:ext cx="1332000" cy="933095"/>
                </a:xfrm>
                <a:prstGeom prst="rect">
                  <a:avLst/>
                </a:prstGeom>
                <a:noFill/>
                <a:ln w="19050">
                  <a:solidFill>
                    <a:schemeClr val="accent1"/>
                  </a:solidFill>
                </a:ln>
                <a:effectLst>
                  <a:outerShdw blurRad="50800" dist="38100" dir="8100000" algn="tr" rotWithShape="0">
                    <a:schemeClr val="bg1">
                      <a:alpha val="4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542925" marR="0" lvl="0" indent="-17145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MW Group Condensed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Rechteck 73"/>
                <p:cNvSpPr/>
                <p:nvPr/>
              </p:nvSpPr>
              <p:spPr>
                <a:xfrm>
                  <a:off x="2147800" y="2650081"/>
                  <a:ext cx="1332000" cy="482796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TP5: System-</a:t>
                  </a:r>
                  <a:r>
                    <a:rPr kumimoji="0" lang="en-GB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dienstleistungen</a:t>
                  </a:r>
                  <a:endPara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pic>
              <p:nvPicPr>
                <p:cNvPr id="75" name="Grafik 74">
                  <a:extLst>
                    <a:ext uri="{FF2B5EF4-FFF2-40B4-BE49-F238E27FC236}">
                      <a16:creationId xmlns:a16="http://schemas.microsoft.com/office/drawing/2014/main" id="{EAA01BE0-ABA8-4CE1-9B30-6230D25147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07887" y="3275234"/>
                  <a:ext cx="715622" cy="154729"/>
                </a:xfrm>
                <a:prstGeom prst="rect">
                  <a:avLst/>
                </a:prstGeom>
              </p:spPr>
            </p:pic>
            <p:pic>
              <p:nvPicPr>
                <p:cNvPr id="76" name="Grafik 75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36714" y="3176532"/>
                  <a:ext cx="379207" cy="350319"/>
                </a:xfrm>
                <a:prstGeom prst="rect">
                  <a:avLst/>
                </a:prstGeom>
              </p:spPr>
            </p:pic>
          </p:grpSp>
          <p:sp>
            <p:nvSpPr>
              <p:cNvPr id="26" name="Rechteck 25"/>
              <p:cNvSpPr/>
              <p:nvPr/>
            </p:nvSpPr>
            <p:spPr>
              <a:xfrm>
                <a:off x="7453055" y="2038856"/>
                <a:ext cx="1369250" cy="2702204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542925" marR="0" lvl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MW Group Condensed"/>
                  <a:ea typeface="+mn-ea"/>
                  <a:cs typeface="+mn-cs"/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>
                <a:off x="7461505" y="2034292"/>
                <a:ext cx="1360800" cy="514980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rPr>
                  <a:t>TP 7: </a:t>
                </a:r>
                <a:r>
                  <a:rPr kumimoji="0" lang="en-GB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rPr>
                  <a:t>Pilotbetrieb</a:t>
                </a: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endParaRPr>
              </a:p>
            </p:txBody>
          </p:sp>
          <p:cxnSp>
            <p:nvCxnSpPr>
              <p:cNvPr id="29" name="Gerade Verbindung mit Pfeil 28"/>
              <p:cNvCxnSpPr>
                <a:cxnSpLocks/>
              </p:cNvCxnSpPr>
              <p:nvPr/>
            </p:nvCxnSpPr>
            <p:spPr>
              <a:xfrm>
                <a:off x="8139412" y="4741060"/>
                <a:ext cx="0" cy="252440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Rechteck 29"/>
              <p:cNvSpPr/>
              <p:nvPr/>
            </p:nvSpPr>
            <p:spPr>
              <a:xfrm>
                <a:off x="2514598" y="4993500"/>
                <a:ext cx="6356089" cy="628756"/>
              </a:xfrm>
              <a:prstGeom prst="rect">
                <a:avLst/>
              </a:prstGeom>
              <a:noFill/>
              <a:ln>
                <a:solidFill>
                  <a:schemeClr val="bg1">
                    <a:lumMod val="50000"/>
                  </a:schemeClr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666666"/>
                  </a:solidFill>
                  <a:effectLst/>
                  <a:uLnTx/>
                  <a:uFillTx/>
                  <a:latin typeface="BMW Group Condensed"/>
                  <a:ea typeface="+mn-ea"/>
                  <a:cs typeface="+mn-cs"/>
                </a:endParaRPr>
              </a:p>
            </p:txBody>
          </p:sp>
          <p:pic>
            <p:nvPicPr>
              <p:cNvPr id="31" name="Grafik 19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45496" y="2650715"/>
                <a:ext cx="984368" cy="5690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Bild 8" descr="BMWMINIRR_5fbg Kopie.jpg">
                <a:extLst>
                  <a:ext uri="{FF2B5EF4-FFF2-40B4-BE49-F238E27FC236}">
                    <a16:creationId xmlns:a16="http://schemas.microsoft.com/office/drawing/2014/main" id="{FE63B5B0-855E-40B9-A177-E10860F9406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8805"/>
              <a:stretch/>
            </p:blipFill>
            <p:spPr bwMode="auto">
              <a:xfrm>
                <a:off x="8451298" y="2626199"/>
                <a:ext cx="296260" cy="2932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3" name="Grafik 32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896757" y="3469922"/>
                <a:ext cx="485310" cy="379512"/>
              </a:xfrm>
              <a:prstGeom prst="rect">
                <a:avLst/>
              </a:prstGeom>
            </p:spPr>
          </p:pic>
          <p:grpSp>
            <p:nvGrpSpPr>
              <p:cNvPr id="34" name="Gruppieren 33"/>
              <p:cNvGrpSpPr/>
              <p:nvPr/>
            </p:nvGrpSpPr>
            <p:grpSpPr>
              <a:xfrm>
                <a:off x="2805598" y="4142963"/>
                <a:ext cx="633096" cy="268800"/>
                <a:chOff x="6082152" y="3149739"/>
                <a:chExt cx="633096" cy="268800"/>
              </a:xfrm>
            </p:grpSpPr>
            <p:pic>
              <p:nvPicPr>
                <p:cNvPr id="52" name="Bildplatzhalter 8"/>
                <p:cNvPicPr>
                  <a:picLocks noChangeAspect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4451" r="4451"/>
                <a:stretch>
                  <a:fillRect/>
                </a:stretch>
              </p:blipFill>
              <p:spPr>
                <a:xfrm>
                  <a:off x="6427248" y="3149739"/>
                  <a:ext cx="288000" cy="268800"/>
                </a:xfrm>
                <a:prstGeom prst="rect">
                  <a:avLst/>
                </a:prstGeom>
              </p:spPr>
            </p:pic>
            <p:grpSp>
              <p:nvGrpSpPr>
                <p:cNvPr id="53" name="Gruppieren 52"/>
                <p:cNvGrpSpPr>
                  <a:grpSpLocks noChangeAspect="1"/>
                </p:cNvGrpSpPr>
                <p:nvPr/>
              </p:nvGrpSpPr>
              <p:grpSpPr>
                <a:xfrm>
                  <a:off x="6082152" y="3149739"/>
                  <a:ext cx="288000" cy="268800"/>
                  <a:chOff x="3273900" y="2301039"/>
                  <a:chExt cx="3177163" cy="3037973"/>
                </a:xfrm>
              </p:grpSpPr>
              <p:pic>
                <p:nvPicPr>
                  <p:cNvPr id="54" name="Grafik 53"/>
                  <p:cNvPicPr>
                    <a:picLocks noChangeAspect="1"/>
                  </p:cNvPicPr>
                  <p:nvPr/>
                </p:nvPicPr>
                <p:blipFill>
                  <a:blip r:embed="rId1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273900" y="2301039"/>
                    <a:ext cx="3177163" cy="3037973"/>
                  </a:xfrm>
                  <a:prstGeom prst="rect">
                    <a:avLst/>
                  </a:prstGeom>
                </p:spPr>
              </p:pic>
              <p:sp>
                <p:nvSpPr>
                  <p:cNvPr id="55" name="Rechteck 54"/>
                  <p:cNvSpPr/>
                  <p:nvPr/>
                </p:nvSpPr>
                <p:spPr>
                  <a:xfrm>
                    <a:off x="4417568" y="3268059"/>
                    <a:ext cx="1004877" cy="1982153"/>
                  </a:xfrm>
                  <a:prstGeom prst="rect">
                    <a:avLst/>
                  </a:prstGeom>
                  <a:solidFill>
                    <a:srgbClr val="3C84B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de-DE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endParaRPr>
                  </a:p>
                </p:txBody>
              </p:sp>
            </p:grpSp>
          </p:grpSp>
          <p:pic>
            <p:nvPicPr>
              <p:cNvPr id="35" name="Grafik 34"/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4233327" y="2564928"/>
                <a:ext cx="438242" cy="438580"/>
              </a:xfrm>
              <a:prstGeom prst="rect">
                <a:avLst/>
              </a:prstGeom>
            </p:spPr>
          </p:pic>
          <p:grpSp>
            <p:nvGrpSpPr>
              <p:cNvPr id="36" name="Gruppieren 35"/>
              <p:cNvGrpSpPr/>
              <p:nvPr/>
            </p:nvGrpSpPr>
            <p:grpSpPr>
              <a:xfrm>
                <a:off x="5859104" y="2034293"/>
                <a:ext cx="1368987" cy="1264156"/>
                <a:chOff x="5870954" y="2034293"/>
                <a:chExt cx="1368987" cy="1264156"/>
              </a:xfrm>
            </p:grpSpPr>
            <p:sp>
              <p:nvSpPr>
                <p:cNvPr id="47" name="Rechteck 46"/>
                <p:cNvSpPr/>
                <p:nvPr/>
              </p:nvSpPr>
              <p:spPr>
                <a:xfrm>
                  <a:off x="5870954" y="2603937"/>
                  <a:ext cx="1358270" cy="67225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pic>
              <p:nvPicPr>
                <p:cNvPr id="48" name="Grafik 47"/>
                <p:cNvPicPr>
                  <a:picLocks noChangeAspect="1"/>
                </p:cNvPicPr>
                <p:nvPr/>
              </p:nvPicPr>
              <p:blipFill rotWithShape="1"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878" t="906" r="67464" b="-906"/>
                <a:stretch/>
              </p:blipFill>
              <p:spPr>
                <a:xfrm>
                  <a:off x="5933755" y="2551548"/>
                  <a:ext cx="487402" cy="734201"/>
                </a:xfrm>
                <a:prstGeom prst="rect">
                  <a:avLst/>
                </a:prstGeom>
              </p:spPr>
            </p:pic>
            <p:sp>
              <p:nvSpPr>
                <p:cNvPr id="49" name="Rechteck 48"/>
                <p:cNvSpPr/>
                <p:nvPr/>
              </p:nvSpPr>
              <p:spPr>
                <a:xfrm>
                  <a:off x="5871941" y="2038856"/>
                  <a:ext cx="1368000" cy="1259593"/>
                </a:xfrm>
                <a:prstGeom prst="rect">
                  <a:avLst/>
                </a:prstGeom>
                <a:noFill/>
                <a:ln w="19050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542925" marR="0" lvl="0" indent="-17145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MW Group Condensed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Rechteck 49"/>
                <p:cNvSpPr/>
                <p:nvPr/>
              </p:nvSpPr>
              <p:spPr>
                <a:xfrm>
                  <a:off x="5871940" y="2034293"/>
                  <a:ext cx="1368000" cy="503158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TP6: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Nutzerforschung</a:t>
                  </a:r>
                  <a:endParaRPr kumimoji="0" lang="en-GB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pic>
              <p:nvPicPr>
                <p:cNvPr id="51" name="Grafik 50">
                  <a:extLst>
                    <a:ext uri="{FF2B5EF4-FFF2-40B4-BE49-F238E27FC236}">
                      <a16:creationId xmlns:a16="http://schemas.microsoft.com/office/drawing/2014/main" id="{783FAADD-D3DF-4816-A6B6-A96884CD9D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55160" y="2676084"/>
                  <a:ext cx="867630" cy="230680"/>
                </a:xfrm>
                <a:prstGeom prst="rect">
                  <a:avLst/>
                </a:prstGeom>
              </p:spPr>
            </p:pic>
          </p:grpSp>
          <p:grpSp>
            <p:nvGrpSpPr>
              <p:cNvPr id="37" name="Gruppieren 36"/>
              <p:cNvGrpSpPr/>
              <p:nvPr/>
            </p:nvGrpSpPr>
            <p:grpSpPr>
              <a:xfrm>
                <a:off x="5859597" y="3572615"/>
                <a:ext cx="1368000" cy="1167979"/>
                <a:chOff x="5886340" y="3572615"/>
                <a:chExt cx="1368000" cy="1167979"/>
              </a:xfrm>
            </p:grpSpPr>
            <p:sp>
              <p:nvSpPr>
                <p:cNvPr id="42" name="Rechteck 41"/>
                <p:cNvSpPr/>
                <p:nvPr/>
              </p:nvSpPr>
              <p:spPr>
                <a:xfrm>
                  <a:off x="5886340" y="4097561"/>
                  <a:ext cx="1364151" cy="606586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Rechteck 42"/>
                <p:cNvSpPr/>
                <p:nvPr/>
              </p:nvSpPr>
              <p:spPr>
                <a:xfrm>
                  <a:off x="5886340" y="3577180"/>
                  <a:ext cx="1368000" cy="1163414"/>
                </a:xfrm>
                <a:prstGeom prst="rect">
                  <a:avLst/>
                </a:prstGeom>
                <a:noFill/>
                <a:ln w="19050">
                  <a:solidFill>
                    <a:schemeClr val="accent1"/>
                  </a:solidFill>
                </a:ln>
                <a:effectLst>
                  <a:outerShdw blurRad="50800" dist="38100" dir="8100000" algn="tr" rotWithShape="0">
                    <a:schemeClr val="bg1">
                      <a:alpha val="4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542925" marR="0" lvl="0" indent="-17145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Wingdings" panose="05000000000000000000" pitchFamily="2" charset="2"/>
                    <a:buChar char="§"/>
                    <a:tabLst/>
                    <a:defRPr/>
                  </a:pPr>
                  <a:endParaRPr kumimoji="0" lang="en-GB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MW Group Condensed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Rechteck 43"/>
                <p:cNvSpPr/>
                <p:nvPr/>
              </p:nvSpPr>
              <p:spPr>
                <a:xfrm>
                  <a:off x="5886340" y="3572615"/>
                  <a:ext cx="1368000" cy="504000"/>
                </a:xfrm>
                <a:prstGeom prst="rect">
                  <a:avLst/>
                </a:prstGeom>
                <a:solidFill>
                  <a:schemeClr val="accent1"/>
                </a:solidFill>
                <a:ln w="190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TP8: </a:t>
                  </a:r>
                  <a:r>
                    <a:rPr kumimoji="0" lang="en-GB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light"/>
                      <a:ea typeface="+mn-ea"/>
                      <a:cs typeface="+mn-cs"/>
                    </a:rPr>
                    <a:t>iMSys</a:t>
                  </a:r>
                  <a:endPara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light"/>
                    <a:ea typeface="+mn-ea"/>
                    <a:cs typeface="+mn-cs"/>
                  </a:endParaRPr>
                </a:p>
              </p:txBody>
            </p:sp>
            <p:pic>
              <p:nvPicPr>
                <p:cNvPr id="45" name="Grafik 44"/>
                <p:cNvPicPr>
                  <a:picLocks noChangeAspect="1"/>
                </p:cNvPicPr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5933755" y="4144959"/>
                  <a:ext cx="420502" cy="490324"/>
                </a:xfrm>
                <a:prstGeom prst="rect">
                  <a:avLst/>
                </a:prstGeom>
              </p:spPr>
            </p:pic>
            <p:pic>
              <p:nvPicPr>
                <p:cNvPr id="46" name="Grafik 45"/>
                <p:cNvPicPr>
                  <a:picLocks noChangeAspect="1"/>
                </p:cNvPicPr>
                <p:nvPr/>
              </p:nvPicPr>
              <p:blipFill>
                <a:blip r:embed="rId20"/>
                <a:stretch>
                  <a:fillRect/>
                </a:stretch>
              </p:blipFill>
              <p:spPr>
                <a:xfrm>
                  <a:off x="6385765" y="4337433"/>
                  <a:ext cx="817185" cy="148659"/>
                </a:xfrm>
                <a:prstGeom prst="rect">
                  <a:avLst/>
                </a:prstGeom>
              </p:spPr>
            </p:pic>
          </p:grpSp>
          <p:cxnSp>
            <p:nvCxnSpPr>
              <p:cNvPr id="38" name="Gerade Verbindung mit Pfeil 37"/>
              <p:cNvCxnSpPr/>
              <p:nvPr/>
            </p:nvCxnSpPr>
            <p:spPr>
              <a:xfrm>
                <a:off x="7243615" y="3834486"/>
                <a:ext cx="193613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mit Pfeil 38"/>
              <p:cNvCxnSpPr/>
              <p:nvPr/>
            </p:nvCxnSpPr>
            <p:spPr>
              <a:xfrm>
                <a:off x="5645423" y="2280972"/>
                <a:ext cx="193613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mit Pfeil 39"/>
              <p:cNvCxnSpPr/>
              <p:nvPr/>
            </p:nvCxnSpPr>
            <p:spPr>
              <a:xfrm>
                <a:off x="5647252" y="3834486"/>
                <a:ext cx="193613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mit Pfeil 40"/>
              <p:cNvCxnSpPr/>
              <p:nvPr/>
            </p:nvCxnSpPr>
            <p:spPr>
              <a:xfrm flipV="1">
                <a:off x="6543597" y="3298449"/>
                <a:ext cx="494" cy="274166"/>
              </a:xfrm>
              <a:prstGeom prst="straightConnector1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4" name="Rechteck 83"/>
            <p:cNvSpPr/>
            <p:nvPr/>
          </p:nvSpPr>
          <p:spPr>
            <a:xfrm>
              <a:off x="4835996" y="1671165"/>
              <a:ext cx="1715282" cy="348656"/>
            </a:xfrm>
            <a:prstGeom prst="rect">
              <a:avLst/>
            </a:prstGeom>
            <a:solidFill>
              <a:srgbClr val="356CA5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Semilight"/>
                  <a:ea typeface="+mn-ea"/>
                  <a:cs typeface="+mn-cs"/>
                </a:rPr>
                <a:t>Projektübersicht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  <p:sp>
        <p:nvSpPr>
          <p:cNvPr id="81" name="Textfeld 80">
            <a:extLst>
              <a:ext uri="{FF2B5EF4-FFF2-40B4-BE49-F238E27FC236}">
                <a16:creationId xmlns:a16="http://schemas.microsoft.com/office/drawing/2014/main" id="{53F53F26-ED79-416D-BDAC-8C4C10DE55E7}"/>
              </a:ext>
            </a:extLst>
          </p:cNvPr>
          <p:cNvSpPr txBox="1"/>
          <p:nvPr/>
        </p:nvSpPr>
        <p:spPr>
          <a:xfrm>
            <a:off x="9753522" y="4405451"/>
            <a:ext cx="1434385" cy="52322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>
            <a:defPPr>
              <a:defRPr lang="de-DE"/>
            </a:defPPr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b="0" i="0" u="none" baseline="0">
                <a:solidFill>
                  <a:srgbClr val="00B0F0"/>
                </a:solidFill>
                <a:latin typeface="BMW Group Condensed" panose="020B0606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Feldtes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 und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rPr>
              <a:t>Auswertun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80393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Motivation</a:t>
            </a:r>
            <a:endParaRPr lang="en-US" sz="32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3</a:t>
            </a:fld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5CD5EFD-3AC2-419B-B0B9-09C08389EAAB}"/>
              </a:ext>
            </a:extLst>
          </p:cNvPr>
          <p:cNvGrpSpPr/>
          <p:nvPr/>
        </p:nvGrpSpPr>
        <p:grpSpPr>
          <a:xfrm>
            <a:off x="1320677" y="1656921"/>
            <a:ext cx="8469579" cy="4326874"/>
            <a:chOff x="6523831" y="3826601"/>
            <a:chExt cx="4534386" cy="1887475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AB19A6B7-40D6-43F4-8CC5-A5E96205AA2C}"/>
                </a:ext>
              </a:extLst>
            </p:cNvPr>
            <p:cNvSpPr txBox="1"/>
            <p:nvPr/>
          </p:nvSpPr>
          <p:spPr>
            <a:xfrm>
              <a:off x="7968366" y="5579817"/>
              <a:ext cx="1385198" cy="13425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Zeit</a:t>
              </a:r>
              <a:endParaRPr lang="de-DE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1C4E3058-BE99-427A-B4B1-3B39F1002681}"/>
                </a:ext>
              </a:extLst>
            </p:cNvPr>
            <p:cNvGrpSpPr/>
            <p:nvPr/>
          </p:nvGrpSpPr>
          <p:grpSpPr>
            <a:xfrm>
              <a:off x="6523831" y="3826601"/>
              <a:ext cx="4534386" cy="1724136"/>
              <a:chOff x="6523831" y="3826601"/>
              <a:chExt cx="4534386" cy="1724136"/>
            </a:xfrm>
          </p:grpSpPr>
          <p:sp>
            <p:nvSpPr>
              <p:cNvPr id="11" name="Freihandform 72">
                <a:extLst>
                  <a:ext uri="{FF2B5EF4-FFF2-40B4-BE49-F238E27FC236}">
                    <a16:creationId xmlns:a16="http://schemas.microsoft.com/office/drawing/2014/main" id="{DA649C11-5C64-4035-A38C-3627FAD564BA}"/>
                  </a:ext>
                </a:extLst>
              </p:cNvPr>
              <p:cNvSpPr/>
              <p:nvPr/>
            </p:nvSpPr>
            <p:spPr>
              <a:xfrm rot="10800000">
                <a:off x="8217571" y="4587256"/>
                <a:ext cx="346120" cy="321585"/>
              </a:xfrm>
              <a:custGeom>
                <a:avLst/>
                <a:gdLst>
                  <a:gd name="connsiteX0" fmla="*/ 0 w 397042"/>
                  <a:gd name="connsiteY0" fmla="*/ 397042 h 397042"/>
                  <a:gd name="connsiteX1" fmla="*/ 108284 w 397042"/>
                  <a:gd name="connsiteY1" fmla="*/ 84221 h 397042"/>
                  <a:gd name="connsiteX2" fmla="*/ 192505 w 397042"/>
                  <a:gd name="connsiteY2" fmla="*/ 0 h 397042"/>
                  <a:gd name="connsiteX3" fmla="*/ 276726 w 397042"/>
                  <a:gd name="connsiteY3" fmla="*/ 84221 h 397042"/>
                  <a:gd name="connsiteX4" fmla="*/ 397042 w 397042"/>
                  <a:gd name="connsiteY4" fmla="*/ 397042 h 397042"/>
                  <a:gd name="connsiteX5" fmla="*/ 0 w 397042"/>
                  <a:gd name="connsiteY5" fmla="*/ 397042 h 397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7042" h="397042">
                    <a:moveTo>
                      <a:pt x="0" y="397042"/>
                    </a:moveTo>
                    <a:lnTo>
                      <a:pt x="108284" y="84221"/>
                    </a:lnTo>
                    <a:lnTo>
                      <a:pt x="192505" y="0"/>
                    </a:lnTo>
                    <a:lnTo>
                      <a:pt x="276726" y="84221"/>
                    </a:lnTo>
                    <a:lnTo>
                      <a:pt x="397042" y="397042"/>
                    </a:lnTo>
                    <a:lnTo>
                      <a:pt x="0" y="397042"/>
                    </a:lnTo>
                    <a:close/>
                  </a:path>
                </a:pathLst>
              </a:custGeom>
              <a:pattFill prst="wdDnDiag">
                <a:fgClr>
                  <a:srgbClr val="00B050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2" name="Freihandform 73">
                <a:extLst>
                  <a:ext uri="{FF2B5EF4-FFF2-40B4-BE49-F238E27FC236}">
                    <a16:creationId xmlns:a16="http://schemas.microsoft.com/office/drawing/2014/main" id="{0041C620-247D-4296-AB9C-CD43F137D2F0}"/>
                  </a:ext>
                </a:extLst>
              </p:cNvPr>
              <p:cNvSpPr/>
              <p:nvPr/>
            </p:nvSpPr>
            <p:spPr>
              <a:xfrm>
                <a:off x="7775910" y="4168942"/>
                <a:ext cx="444322" cy="397042"/>
              </a:xfrm>
              <a:custGeom>
                <a:avLst/>
                <a:gdLst>
                  <a:gd name="connsiteX0" fmla="*/ 0 w 397042"/>
                  <a:gd name="connsiteY0" fmla="*/ 397042 h 397042"/>
                  <a:gd name="connsiteX1" fmla="*/ 108284 w 397042"/>
                  <a:gd name="connsiteY1" fmla="*/ 84221 h 397042"/>
                  <a:gd name="connsiteX2" fmla="*/ 192505 w 397042"/>
                  <a:gd name="connsiteY2" fmla="*/ 0 h 397042"/>
                  <a:gd name="connsiteX3" fmla="*/ 276726 w 397042"/>
                  <a:gd name="connsiteY3" fmla="*/ 84221 h 397042"/>
                  <a:gd name="connsiteX4" fmla="*/ 397042 w 397042"/>
                  <a:gd name="connsiteY4" fmla="*/ 397042 h 397042"/>
                  <a:gd name="connsiteX5" fmla="*/ 0 w 397042"/>
                  <a:gd name="connsiteY5" fmla="*/ 397042 h 397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7042" h="397042">
                    <a:moveTo>
                      <a:pt x="0" y="397042"/>
                    </a:moveTo>
                    <a:lnTo>
                      <a:pt x="108284" y="84221"/>
                    </a:lnTo>
                    <a:lnTo>
                      <a:pt x="192505" y="0"/>
                    </a:lnTo>
                    <a:lnTo>
                      <a:pt x="276726" y="84221"/>
                    </a:lnTo>
                    <a:lnTo>
                      <a:pt x="397042" y="397042"/>
                    </a:lnTo>
                    <a:lnTo>
                      <a:pt x="0" y="397042"/>
                    </a:lnTo>
                    <a:close/>
                  </a:path>
                </a:pathLst>
              </a:custGeom>
              <a:pattFill prst="wdDnDiag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cxnSp>
            <p:nvCxnSpPr>
              <p:cNvPr id="15" name="Gerader Verbinder 14">
                <a:extLst>
                  <a:ext uri="{FF2B5EF4-FFF2-40B4-BE49-F238E27FC236}">
                    <a16:creationId xmlns:a16="http://schemas.microsoft.com/office/drawing/2014/main" id="{5BDC8A8C-3D84-4D5F-8A89-495D3F227422}"/>
                  </a:ext>
                </a:extLst>
              </p:cNvPr>
              <p:cNvCxnSpPr/>
              <p:nvPr/>
            </p:nvCxnSpPr>
            <p:spPr>
              <a:xfrm>
                <a:off x="6767762" y="5532689"/>
                <a:ext cx="3599860" cy="18048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15">
                <a:extLst>
                  <a:ext uri="{FF2B5EF4-FFF2-40B4-BE49-F238E27FC236}">
                    <a16:creationId xmlns:a16="http://schemas.microsoft.com/office/drawing/2014/main" id="{76F06819-C6F2-4949-B2E2-2E4DFAD2DB4B}"/>
                  </a:ext>
                </a:extLst>
              </p:cNvPr>
              <p:cNvCxnSpPr/>
              <p:nvPr/>
            </p:nvCxnSpPr>
            <p:spPr>
              <a:xfrm flipH="1" flipV="1">
                <a:off x="6767762" y="3826601"/>
                <a:ext cx="2006" cy="1708596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1FFEB8E1-37A5-4E47-BD7A-0C0318F83EAF}"/>
                  </a:ext>
                </a:extLst>
              </p:cNvPr>
              <p:cNvSpPr txBox="1"/>
              <p:nvPr/>
            </p:nvSpPr>
            <p:spPr>
              <a:xfrm rot="16200000">
                <a:off x="5824668" y="4640359"/>
                <a:ext cx="1563102" cy="16477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de-DE" sz="1400" dirty="0"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eistung in kW</a:t>
                </a:r>
                <a:endParaRPr lang="de-DE" dirty="0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8" name="Freihandform 77">
                <a:extLst>
                  <a:ext uri="{FF2B5EF4-FFF2-40B4-BE49-F238E27FC236}">
                    <a16:creationId xmlns:a16="http://schemas.microsoft.com/office/drawing/2014/main" id="{81367C6D-16B9-4B1A-9346-BA3CE133E62C}"/>
                  </a:ext>
                </a:extLst>
              </p:cNvPr>
              <p:cNvSpPr/>
              <p:nvPr/>
            </p:nvSpPr>
            <p:spPr>
              <a:xfrm>
                <a:off x="6773778" y="4174849"/>
                <a:ext cx="3457224" cy="938572"/>
              </a:xfrm>
              <a:custGeom>
                <a:avLst/>
                <a:gdLst>
                  <a:gd name="connsiteX0" fmla="*/ 0 w 2863516"/>
                  <a:gd name="connsiteY0" fmla="*/ 926540 h 938572"/>
                  <a:gd name="connsiteX1" fmla="*/ 655721 w 2863516"/>
                  <a:gd name="connsiteY1" fmla="*/ 788177 h 938572"/>
                  <a:gd name="connsiteX2" fmla="*/ 1010653 w 2863516"/>
                  <a:gd name="connsiteY2" fmla="*/ 108 h 938572"/>
                  <a:gd name="connsiteX3" fmla="*/ 1335505 w 2863516"/>
                  <a:gd name="connsiteY3" fmla="*/ 728019 h 938572"/>
                  <a:gd name="connsiteX4" fmla="*/ 1558089 w 2863516"/>
                  <a:gd name="connsiteY4" fmla="*/ 282851 h 938572"/>
                  <a:gd name="connsiteX5" fmla="*/ 1750595 w 2863516"/>
                  <a:gd name="connsiteY5" fmla="*/ 559577 h 938572"/>
                  <a:gd name="connsiteX6" fmla="*/ 2075447 w 2863516"/>
                  <a:gd name="connsiteY6" fmla="*/ 643798 h 938572"/>
                  <a:gd name="connsiteX7" fmla="*/ 2466474 w 2863516"/>
                  <a:gd name="connsiteY7" fmla="*/ 673877 h 938572"/>
                  <a:gd name="connsiteX8" fmla="*/ 2863516 w 2863516"/>
                  <a:gd name="connsiteY8" fmla="*/ 938572 h 93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63516" h="938572">
                    <a:moveTo>
                      <a:pt x="0" y="926540"/>
                    </a:moveTo>
                    <a:cubicBezTo>
                      <a:pt x="243639" y="934561"/>
                      <a:pt x="487279" y="942582"/>
                      <a:pt x="655721" y="788177"/>
                    </a:cubicBezTo>
                    <a:cubicBezTo>
                      <a:pt x="824163" y="633772"/>
                      <a:pt x="897356" y="10134"/>
                      <a:pt x="1010653" y="108"/>
                    </a:cubicBezTo>
                    <a:cubicBezTo>
                      <a:pt x="1123950" y="-9918"/>
                      <a:pt x="1244266" y="680895"/>
                      <a:pt x="1335505" y="728019"/>
                    </a:cubicBezTo>
                    <a:cubicBezTo>
                      <a:pt x="1426744" y="775143"/>
                      <a:pt x="1488907" y="310925"/>
                      <a:pt x="1558089" y="282851"/>
                    </a:cubicBezTo>
                    <a:cubicBezTo>
                      <a:pt x="1627271" y="254777"/>
                      <a:pt x="1664369" y="499419"/>
                      <a:pt x="1750595" y="559577"/>
                    </a:cubicBezTo>
                    <a:cubicBezTo>
                      <a:pt x="1836821" y="619735"/>
                      <a:pt x="1956134" y="624748"/>
                      <a:pt x="2075447" y="643798"/>
                    </a:cubicBezTo>
                    <a:cubicBezTo>
                      <a:pt x="2194760" y="662848"/>
                      <a:pt x="2335129" y="624748"/>
                      <a:pt x="2466474" y="673877"/>
                    </a:cubicBezTo>
                    <a:cubicBezTo>
                      <a:pt x="2597819" y="723006"/>
                      <a:pt x="2797342" y="895459"/>
                      <a:pt x="2863516" y="938572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cxnSp>
            <p:nvCxnSpPr>
              <p:cNvPr id="19" name="Gerader Verbinder 18">
                <a:extLst>
                  <a:ext uri="{FF2B5EF4-FFF2-40B4-BE49-F238E27FC236}">
                    <a16:creationId xmlns:a16="http://schemas.microsoft.com/office/drawing/2014/main" id="{00DEEA13-1846-403D-B332-9DCDBEF8DFC5}"/>
                  </a:ext>
                </a:extLst>
              </p:cNvPr>
              <p:cNvCxnSpPr/>
              <p:nvPr/>
            </p:nvCxnSpPr>
            <p:spPr>
              <a:xfrm>
                <a:off x="6809873" y="4167405"/>
                <a:ext cx="3525145" cy="0"/>
              </a:xfrm>
              <a:prstGeom prst="line">
                <a:avLst/>
              </a:prstGeom>
              <a:ln w="19050">
                <a:prstDash val="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7BCE77AC-7903-4630-BEA8-E3B475DC08A0}"/>
                  </a:ext>
                </a:extLst>
              </p:cNvPr>
              <p:cNvCxnSpPr/>
              <p:nvPr/>
            </p:nvCxnSpPr>
            <p:spPr>
              <a:xfrm>
                <a:off x="6809873" y="4573893"/>
                <a:ext cx="3525145" cy="0"/>
              </a:xfrm>
              <a:prstGeom prst="line">
                <a:avLst/>
              </a:prstGeom>
              <a:ln w="19050">
                <a:prstDash val="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Freihandform 81">
                <a:extLst>
                  <a:ext uri="{FF2B5EF4-FFF2-40B4-BE49-F238E27FC236}">
                    <a16:creationId xmlns:a16="http://schemas.microsoft.com/office/drawing/2014/main" id="{BD0CBD5C-6DC4-43AE-BBE4-5E42862306A5}"/>
                  </a:ext>
                </a:extLst>
              </p:cNvPr>
              <p:cNvSpPr/>
              <p:nvPr/>
            </p:nvSpPr>
            <p:spPr>
              <a:xfrm>
                <a:off x="8581653" y="4459956"/>
                <a:ext cx="158625" cy="100573"/>
              </a:xfrm>
              <a:custGeom>
                <a:avLst/>
                <a:gdLst>
                  <a:gd name="connsiteX0" fmla="*/ 0 w 397042"/>
                  <a:gd name="connsiteY0" fmla="*/ 397042 h 397042"/>
                  <a:gd name="connsiteX1" fmla="*/ 108284 w 397042"/>
                  <a:gd name="connsiteY1" fmla="*/ 84221 h 397042"/>
                  <a:gd name="connsiteX2" fmla="*/ 192505 w 397042"/>
                  <a:gd name="connsiteY2" fmla="*/ 0 h 397042"/>
                  <a:gd name="connsiteX3" fmla="*/ 276726 w 397042"/>
                  <a:gd name="connsiteY3" fmla="*/ 84221 h 397042"/>
                  <a:gd name="connsiteX4" fmla="*/ 397042 w 397042"/>
                  <a:gd name="connsiteY4" fmla="*/ 397042 h 397042"/>
                  <a:gd name="connsiteX5" fmla="*/ 0 w 397042"/>
                  <a:gd name="connsiteY5" fmla="*/ 397042 h 397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7042" h="397042">
                    <a:moveTo>
                      <a:pt x="0" y="397042"/>
                    </a:moveTo>
                    <a:lnTo>
                      <a:pt x="108284" y="84221"/>
                    </a:lnTo>
                    <a:lnTo>
                      <a:pt x="192505" y="0"/>
                    </a:lnTo>
                    <a:lnTo>
                      <a:pt x="276726" y="84221"/>
                    </a:lnTo>
                    <a:lnTo>
                      <a:pt x="397042" y="397042"/>
                    </a:lnTo>
                    <a:lnTo>
                      <a:pt x="0" y="397042"/>
                    </a:lnTo>
                    <a:close/>
                  </a:path>
                </a:pathLst>
              </a:custGeom>
              <a:pattFill prst="wdDnDiag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2" name="Freihandform 82">
                <a:extLst>
                  <a:ext uri="{FF2B5EF4-FFF2-40B4-BE49-F238E27FC236}">
                    <a16:creationId xmlns:a16="http://schemas.microsoft.com/office/drawing/2014/main" id="{8576FEF1-4FA9-44B2-9C45-839C0C694F1A}"/>
                  </a:ext>
                </a:extLst>
              </p:cNvPr>
              <p:cNvSpPr/>
              <p:nvPr/>
            </p:nvSpPr>
            <p:spPr>
              <a:xfrm>
                <a:off x="8788048" y="4584512"/>
                <a:ext cx="188200" cy="178594"/>
              </a:xfrm>
              <a:custGeom>
                <a:avLst/>
                <a:gdLst>
                  <a:gd name="connsiteX0" fmla="*/ 0 w 166687"/>
                  <a:gd name="connsiteY0" fmla="*/ 0 h 178594"/>
                  <a:gd name="connsiteX1" fmla="*/ 33337 w 166687"/>
                  <a:gd name="connsiteY1" fmla="*/ 66675 h 178594"/>
                  <a:gd name="connsiteX2" fmla="*/ 66675 w 166687"/>
                  <a:gd name="connsiteY2" fmla="*/ 123825 h 178594"/>
                  <a:gd name="connsiteX3" fmla="*/ 128587 w 166687"/>
                  <a:gd name="connsiteY3" fmla="*/ 164306 h 178594"/>
                  <a:gd name="connsiteX4" fmla="*/ 166687 w 166687"/>
                  <a:gd name="connsiteY4" fmla="*/ 178594 h 178594"/>
                  <a:gd name="connsiteX5" fmla="*/ 166687 w 166687"/>
                  <a:gd name="connsiteY5" fmla="*/ 7144 h 178594"/>
                  <a:gd name="connsiteX6" fmla="*/ 0 w 166687"/>
                  <a:gd name="connsiteY6" fmla="*/ 0 h 178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87" h="178594">
                    <a:moveTo>
                      <a:pt x="0" y="0"/>
                    </a:moveTo>
                    <a:lnTo>
                      <a:pt x="33337" y="66675"/>
                    </a:lnTo>
                    <a:lnTo>
                      <a:pt x="66675" y="123825"/>
                    </a:lnTo>
                    <a:lnTo>
                      <a:pt x="128587" y="164306"/>
                    </a:lnTo>
                    <a:lnTo>
                      <a:pt x="166687" y="178594"/>
                    </a:lnTo>
                    <a:lnTo>
                      <a:pt x="166687" y="7144"/>
                    </a:lnTo>
                    <a:lnTo>
                      <a:pt x="0" y="0"/>
                    </a:lnTo>
                    <a:close/>
                  </a:path>
                </a:pathLst>
              </a:custGeom>
              <a:pattFill prst="wdDnDiag">
                <a:fgClr>
                  <a:srgbClr val="00B050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83597BCC-6057-4DE0-A158-2F65D6BCF4C9}"/>
                  </a:ext>
                </a:extLst>
              </p:cNvPr>
              <p:cNvSpPr txBox="1"/>
              <p:nvPr/>
            </p:nvSpPr>
            <p:spPr>
              <a:xfrm>
                <a:off x="8890475" y="4023022"/>
                <a:ext cx="2167742" cy="13425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de-DE" sz="1400" dirty="0">
                    <a:solidFill>
                      <a:srgbClr val="C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pitzenlast ohne Spitzenlastkappung</a:t>
                </a:r>
                <a:endParaRPr lang="de-DE" dirty="0">
                  <a:solidFill>
                    <a:srgbClr val="C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4" name="Textfeld 23">
                <a:extLst>
                  <a:ext uri="{FF2B5EF4-FFF2-40B4-BE49-F238E27FC236}">
                    <a16:creationId xmlns:a16="http://schemas.microsoft.com/office/drawing/2014/main" id="{181C6291-9341-49AC-A135-F1080A7E33CA}"/>
                  </a:ext>
                </a:extLst>
              </p:cNvPr>
              <p:cNvSpPr txBox="1"/>
              <p:nvPr/>
            </p:nvSpPr>
            <p:spPr>
              <a:xfrm>
                <a:off x="8890475" y="4427389"/>
                <a:ext cx="1741867" cy="134259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de-DE" sz="1400" dirty="0">
                    <a:solidFill>
                      <a:srgbClr val="00B05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Spitzenlast mit Spitzenlastkappung</a:t>
                </a:r>
              </a:p>
            </p:txBody>
          </p:sp>
          <p:sp>
            <p:nvSpPr>
              <p:cNvPr id="25" name="Bogen 24">
                <a:extLst>
                  <a:ext uri="{FF2B5EF4-FFF2-40B4-BE49-F238E27FC236}">
                    <a16:creationId xmlns:a16="http://schemas.microsoft.com/office/drawing/2014/main" id="{8CD274CC-8143-4776-B3A3-11BFB52A0E20}"/>
                  </a:ext>
                </a:extLst>
              </p:cNvPr>
              <p:cNvSpPr/>
              <p:nvPr/>
            </p:nvSpPr>
            <p:spPr>
              <a:xfrm rot="10800000">
                <a:off x="7948267" y="4109641"/>
                <a:ext cx="548484" cy="653465"/>
              </a:xfrm>
              <a:prstGeom prst="arc">
                <a:avLst>
                  <a:gd name="adj1" fmla="val 15585983"/>
                  <a:gd name="adj2" fmla="val 0"/>
                </a:avLst>
              </a:prstGeom>
              <a:ln w="28575"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6" name="Bogen 25">
                <a:extLst>
                  <a:ext uri="{FF2B5EF4-FFF2-40B4-BE49-F238E27FC236}">
                    <a16:creationId xmlns:a16="http://schemas.microsoft.com/office/drawing/2014/main" id="{36E1D54A-AEA1-490F-BD22-155CABA4258E}"/>
                  </a:ext>
                </a:extLst>
              </p:cNvPr>
              <p:cNvSpPr/>
              <p:nvPr/>
            </p:nvSpPr>
            <p:spPr>
              <a:xfrm rot="10800000">
                <a:off x="8662210" y="4316405"/>
                <a:ext cx="332086" cy="363367"/>
              </a:xfrm>
              <a:prstGeom prst="arc">
                <a:avLst>
                  <a:gd name="adj1" fmla="val 15585983"/>
                  <a:gd name="adj2" fmla="val 0"/>
                </a:avLst>
              </a:prstGeom>
              <a:ln w="28575"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5E044892-2B55-4A8A-96E7-219E74B686F7}"/>
              </a:ext>
            </a:extLst>
          </p:cNvPr>
          <p:cNvSpPr txBox="1"/>
          <p:nvPr/>
        </p:nvSpPr>
        <p:spPr>
          <a:xfrm>
            <a:off x="4798707" y="5093243"/>
            <a:ext cx="23839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de-DE" sz="1400" b="1" dirty="0">
                <a:latin typeface="+mn-lt"/>
              </a:rPr>
              <a:t>Arbeitspreis</a:t>
            </a:r>
            <a:endParaRPr lang="de-DE" sz="1400" b="1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A48DB3C-A573-48D2-A689-01673CD3E9A7}"/>
              </a:ext>
            </a:extLst>
          </p:cNvPr>
          <p:cNvSpPr txBox="1"/>
          <p:nvPr/>
        </p:nvSpPr>
        <p:spPr>
          <a:xfrm>
            <a:off x="9118549" y="2643542"/>
            <a:ext cx="13798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de-DE" sz="1400" b="1" dirty="0">
                <a:latin typeface="+mn-lt"/>
              </a:rPr>
              <a:t>Leistungspreis</a:t>
            </a:r>
            <a:endParaRPr lang="de-DE" sz="1400" b="1" dirty="0"/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A3DDF64E-1829-4541-8F7D-DA511E37B083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8500328" y="2398176"/>
            <a:ext cx="618221" cy="39925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89700827-D3E0-46A6-ACF0-70924DF53BD3}"/>
              </a:ext>
            </a:extLst>
          </p:cNvPr>
          <p:cNvCxnSpPr>
            <a:cxnSpLocks/>
            <a:endCxn id="30" idx="1"/>
          </p:cNvCxnSpPr>
          <p:nvPr/>
        </p:nvCxnSpPr>
        <p:spPr>
          <a:xfrm flipV="1">
            <a:off x="8480190" y="2797431"/>
            <a:ext cx="638359" cy="55117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6" name="Tabelle 45">
            <a:extLst>
              <a:ext uri="{FF2B5EF4-FFF2-40B4-BE49-F238E27FC236}">
                <a16:creationId xmlns:a16="http://schemas.microsoft.com/office/drawing/2014/main" id="{4D41B62B-7F85-4223-BB4E-87D087C783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9506972"/>
              </p:ext>
            </p:extLst>
          </p:nvPr>
        </p:nvGraphicFramePr>
        <p:xfrm>
          <a:off x="9777038" y="3235364"/>
          <a:ext cx="1818470" cy="15544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902480">
                  <a:extLst>
                    <a:ext uri="{9D8B030D-6E8A-4147-A177-3AD203B41FA5}">
                      <a16:colId xmlns:a16="http://schemas.microsoft.com/office/drawing/2014/main" val="4051573950"/>
                    </a:ext>
                  </a:extLst>
                </a:gridCol>
                <a:gridCol w="915990">
                  <a:extLst>
                    <a:ext uri="{9D8B030D-6E8A-4147-A177-3AD203B41FA5}">
                      <a16:colId xmlns:a16="http://schemas.microsoft.com/office/drawing/2014/main" val="241454631"/>
                    </a:ext>
                  </a:extLst>
                </a:gridCol>
              </a:tblGrid>
              <a:tr h="44185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Bayernwerk AG </a:t>
                      </a:r>
                      <a:br>
                        <a:rPr lang="de-DE" sz="1400" b="0" dirty="0"/>
                      </a:br>
                      <a:r>
                        <a:rPr lang="de-DE" sz="1400" b="0" dirty="0"/>
                        <a:t>Mittelspannung</a:t>
                      </a:r>
                      <a:endParaRPr lang="en-US" sz="1400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5766678"/>
                  </a:ext>
                </a:extLst>
              </a:tr>
              <a:tr h="441853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VLS* &lt; 2500h</a:t>
                      </a:r>
                      <a:endParaRPr lang="en-US" sz="1400" b="0" dirty="0"/>
                    </a:p>
                  </a:txBody>
                  <a:tcP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13 </a:t>
                      </a:r>
                      <a:r>
                        <a:rPr lang="de-DE" sz="1400" b="0" baseline="0" dirty="0"/>
                        <a:t>€/kW</a:t>
                      </a:r>
                      <a:endParaRPr lang="en-US" sz="1400" b="0" dirty="0"/>
                    </a:p>
                  </a:txBody>
                  <a:tcP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077706"/>
                  </a:ext>
                </a:extLst>
              </a:tr>
              <a:tr h="441853"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VLS* &gt;= 2500h</a:t>
                      </a:r>
                      <a:endParaRPr lang="en-US" sz="1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/>
                        <a:t>139 </a:t>
                      </a:r>
                      <a:r>
                        <a:rPr lang="de-DE" sz="1400" b="0" baseline="0" dirty="0"/>
                        <a:t>€/kW</a:t>
                      </a:r>
                      <a:endParaRPr lang="en-US" sz="14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0784942"/>
                  </a:ext>
                </a:extLst>
              </a:tr>
            </a:tbl>
          </a:graphicData>
        </a:graphic>
      </p:graphicFrame>
      <p:sp>
        <p:nvSpPr>
          <p:cNvPr id="48" name="Textfeld 47">
            <a:extLst>
              <a:ext uri="{FF2B5EF4-FFF2-40B4-BE49-F238E27FC236}">
                <a16:creationId xmlns:a16="http://schemas.microsoft.com/office/drawing/2014/main" id="{54BA6A4A-88C0-4B99-A89E-69027A7D4694}"/>
              </a:ext>
            </a:extLst>
          </p:cNvPr>
          <p:cNvSpPr txBox="1"/>
          <p:nvPr/>
        </p:nvSpPr>
        <p:spPr>
          <a:xfrm>
            <a:off x="8318443" y="6569991"/>
            <a:ext cx="28961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0" dirty="0"/>
              <a:t>*VLS = Volllaststunden</a:t>
            </a:r>
            <a:endParaRPr lang="en-US" sz="1200" dirty="0"/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4FFAEB3A-B68C-43FE-9907-E67D27AD61C7}"/>
              </a:ext>
            </a:extLst>
          </p:cNvPr>
          <p:cNvCxnSpPr/>
          <p:nvPr/>
        </p:nvCxnSpPr>
        <p:spPr>
          <a:xfrm>
            <a:off x="9625263" y="2951319"/>
            <a:ext cx="0" cy="212257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B738A917-9EDE-443E-B353-DEB2CDA781EE}"/>
              </a:ext>
            </a:extLst>
          </p:cNvPr>
          <p:cNvCxnSpPr>
            <a:cxnSpLocks/>
          </p:cNvCxnSpPr>
          <p:nvPr/>
        </p:nvCxnSpPr>
        <p:spPr>
          <a:xfrm>
            <a:off x="5911807" y="5252113"/>
            <a:ext cx="332271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6BF31804-F743-4351-B1A5-4C2A3F43E18B}"/>
              </a:ext>
            </a:extLst>
          </p:cNvPr>
          <p:cNvSpPr txBox="1"/>
          <p:nvPr/>
        </p:nvSpPr>
        <p:spPr>
          <a:xfrm>
            <a:off x="9246495" y="5099266"/>
            <a:ext cx="23839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de-DE" sz="1400" b="1" dirty="0">
                <a:latin typeface="+mn-lt"/>
              </a:rPr>
              <a:t>Netzentgelte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497175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30" grpId="0"/>
      <p:bldP spid="48" grpId="0"/>
      <p:bldP spid="5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Inputdaten und </a:t>
            </a:r>
            <a:r>
              <a:rPr lang="de-DE" sz="3200" b="1" dirty="0" err="1"/>
              <a:t>Szenariobeschreibung</a:t>
            </a:r>
            <a:endParaRPr lang="en-US" sz="3200" b="1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9289028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4</a:t>
            </a:fld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88" name="Gruppieren 87"/>
          <p:cNvGrpSpPr/>
          <p:nvPr/>
        </p:nvGrpSpPr>
        <p:grpSpPr>
          <a:xfrm>
            <a:off x="947914" y="1452387"/>
            <a:ext cx="10523560" cy="4674741"/>
            <a:chOff x="947914" y="1452387"/>
            <a:chExt cx="10523560" cy="4674741"/>
          </a:xfrm>
        </p:grpSpPr>
        <p:grpSp>
          <p:nvGrpSpPr>
            <p:cNvPr id="84" name="Gruppieren 83"/>
            <p:cNvGrpSpPr/>
            <p:nvPr/>
          </p:nvGrpSpPr>
          <p:grpSpPr>
            <a:xfrm>
              <a:off x="947914" y="1452387"/>
              <a:ext cx="4426846" cy="2108959"/>
              <a:chOff x="947914" y="1452387"/>
              <a:chExt cx="4426846" cy="2108959"/>
            </a:xfrm>
          </p:grpSpPr>
          <p:grpSp>
            <p:nvGrpSpPr>
              <p:cNvPr id="71" name="Gruppieren 70"/>
              <p:cNvGrpSpPr/>
              <p:nvPr/>
            </p:nvGrpSpPr>
            <p:grpSpPr>
              <a:xfrm>
                <a:off x="947914" y="1452387"/>
                <a:ext cx="3180567" cy="2108959"/>
                <a:chOff x="947914" y="1356137"/>
                <a:chExt cx="3180567" cy="2108959"/>
              </a:xfrm>
            </p:grpSpPr>
            <p:grpSp>
              <p:nvGrpSpPr>
                <p:cNvPr id="62" name="Gruppieren 61"/>
                <p:cNvGrpSpPr/>
                <p:nvPr/>
              </p:nvGrpSpPr>
              <p:grpSpPr>
                <a:xfrm>
                  <a:off x="947914" y="1356137"/>
                  <a:ext cx="3180567" cy="2108959"/>
                  <a:chOff x="1150044" y="1125129"/>
                  <a:chExt cx="3180567" cy="2108959"/>
                </a:xfrm>
              </p:grpSpPr>
              <p:sp>
                <p:nvSpPr>
                  <p:cNvPr id="58" name="Abgerundetes Rechteck 57"/>
                  <p:cNvSpPr/>
                  <p:nvPr/>
                </p:nvSpPr>
                <p:spPr>
                  <a:xfrm>
                    <a:off x="1395663" y="1491916"/>
                    <a:ext cx="2934948" cy="1742172"/>
                  </a:xfrm>
                  <a:prstGeom prst="roundRect">
                    <a:avLst/>
                  </a:prstGeom>
                  <a:solidFill>
                    <a:schemeClr val="accent5">
                      <a:lumMod val="20000"/>
                      <a:lumOff val="80000"/>
                    </a:schemeClr>
                  </a:solidFill>
                  <a:ln w="1905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Batteriekapazität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Maximale Lade-/Entladeleistung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Minimaler Sicherheits-</a:t>
                    </a:r>
                    <a:r>
                      <a:rPr lang="de-DE" sz="1600" dirty="0" err="1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SoC</a:t>
                    </a: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 und min. </a:t>
                    </a:r>
                    <a:r>
                      <a:rPr lang="de-DE" sz="1600" dirty="0" err="1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SoC</a:t>
                    </a: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 bei Abfahrt</a:t>
                    </a:r>
                    <a:endParaRPr lang="en-US" sz="1600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p:txBody>
              </p:sp>
              <p:sp>
                <p:nvSpPr>
                  <p:cNvPr id="59" name="Flussdiagramm: Verbinder 58"/>
                  <p:cNvSpPr/>
                  <p:nvPr/>
                </p:nvSpPr>
                <p:spPr>
                  <a:xfrm>
                    <a:off x="1150044" y="1125129"/>
                    <a:ext cx="714950" cy="714950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 w="19050">
                    <a:solidFill>
                      <a:schemeClr val="accent5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0" name="Abgerundetes Rechteck 59"/>
                  <p:cNvSpPr/>
                  <p:nvPr/>
                </p:nvSpPr>
                <p:spPr>
                  <a:xfrm>
                    <a:off x="1944127" y="1284879"/>
                    <a:ext cx="2096665" cy="417713"/>
                  </a:xfrm>
                  <a:prstGeom prst="roundRect">
                    <a:avLst/>
                  </a:prstGeom>
                  <a:solidFill>
                    <a:schemeClr val="accent5">
                      <a:lumMod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/>
                      <a:t>EV Charakteristik</a:t>
                    </a:r>
                    <a:endParaRPr lang="en-US" dirty="0"/>
                  </a:p>
                </p:txBody>
              </p:sp>
            </p:grpSp>
            <p:pic>
              <p:nvPicPr>
                <p:cNvPr id="5" name="Grafik 4" descr="&lt;strong&gt;Electric&lt;/strong&gt; car PNG"/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biLevel thresh="5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1839" b="20674"/>
                <a:stretch/>
              </p:blipFill>
              <p:spPr>
                <a:xfrm>
                  <a:off x="981666" y="1547393"/>
                  <a:ext cx="637522" cy="344957"/>
                </a:xfrm>
                <a:prstGeom prst="rect">
                  <a:avLst/>
                </a:prstGeom>
              </p:spPr>
            </p:pic>
          </p:grpSp>
          <p:sp>
            <p:nvSpPr>
              <p:cNvPr id="79" name="Rechteckiger Pfeil 78"/>
              <p:cNvSpPr/>
              <p:nvPr/>
            </p:nvSpPr>
            <p:spPr>
              <a:xfrm rot="5400000">
                <a:off x="4508670" y="2457031"/>
                <a:ext cx="731520" cy="1000660"/>
              </a:xfrm>
              <a:prstGeom prst="bentArrow">
                <a:avLst/>
              </a:prstGeom>
              <a:solidFill>
                <a:schemeClr val="accent5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5" name="Gruppieren 84"/>
            <p:cNvGrpSpPr/>
            <p:nvPr/>
          </p:nvGrpSpPr>
          <p:grpSpPr>
            <a:xfrm>
              <a:off x="7172573" y="1452387"/>
              <a:ext cx="4181227" cy="2108959"/>
              <a:chOff x="7172573" y="1452387"/>
              <a:chExt cx="4181227" cy="2108959"/>
            </a:xfrm>
          </p:grpSpPr>
          <p:grpSp>
            <p:nvGrpSpPr>
              <p:cNvPr id="72" name="Gruppieren 71"/>
              <p:cNvGrpSpPr/>
              <p:nvPr/>
            </p:nvGrpSpPr>
            <p:grpSpPr>
              <a:xfrm>
                <a:off x="8173233" y="1452387"/>
                <a:ext cx="3180567" cy="2108959"/>
                <a:chOff x="8173233" y="1356137"/>
                <a:chExt cx="3180567" cy="2108959"/>
              </a:xfrm>
            </p:grpSpPr>
            <p:grpSp>
              <p:nvGrpSpPr>
                <p:cNvPr id="63" name="Gruppieren 62"/>
                <p:cNvGrpSpPr/>
                <p:nvPr/>
              </p:nvGrpSpPr>
              <p:grpSpPr>
                <a:xfrm>
                  <a:off x="8173233" y="1356137"/>
                  <a:ext cx="3180567" cy="2108959"/>
                  <a:chOff x="1150044" y="1125129"/>
                  <a:chExt cx="3180567" cy="2108959"/>
                </a:xfrm>
              </p:grpSpPr>
              <p:sp>
                <p:nvSpPr>
                  <p:cNvPr id="64" name="Abgerundetes Rechteck 63"/>
                  <p:cNvSpPr/>
                  <p:nvPr/>
                </p:nvSpPr>
                <p:spPr>
                  <a:xfrm>
                    <a:off x="1395663" y="1491916"/>
                    <a:ext cx="2934948" cy="1742172"/>
                  </a:xfrm>
                  <a:prstGeom prst="roundRect">
                    <a:avLst/>
                  </a:prstGeom>
                  <a:solidFill>
                    <a:schemeClr val="accent5">
                      <a:lumMod val="20000"/>
                      <a:lumOff val="80000"/>
                    </a:schemeClr>
                  </a:solidFill>
                  <a:ln w="1905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3-Schicht-System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Arbeitnehmer EVs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Verbrauch angelehnt an mittleren deutschen Arbeitnehmer</a:t>
                    </a:r>
                  </a:p>
                </p:txBody>
              </p:sp>
              <p:sp>
                <p:nvSpPr>
                  <p:cNvPr id="65" name="Flussdiagramm: Verbinder 64"/>
                  <p:cNvSpPr/>
                  <p:nvPr/>
                </p:nvSpPr>
                <p:spPr>
                  <a:xfrm>
                    <a:off x="1150044" y="1125129"/>
                    <a:ext cx="714950" cy="714950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 w="19050">
                    <a:solidFill>
                      <a:schemeClr val="accent5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6" name="Abgerundetes Rechteck 65"/>
                  <p:cNvSpPr/>
                  <p:nvPr/>
                </p:nvSpPr>
                <p:spPr>
                  <a:xfrm>
                    <a:off x="1944127" y="1284879"/>
                    <a:ext cx="2214339" cy="417713"/>
                  </a:xfrm>
                  <a:prstGeom prst="roundRect">
                    <a:avLst/>
                  </a:prstGeom>
                  <a:solidFill>
                    <a:schemeClr val="accent5">
                      <a:lumMod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/>
                      <a:t>EV Verhalten</a:t>
                    </a:r>
                    <a:endParaRPr lang="en-US" dirty="0"/>
                  </a:p>
                </p:txBody>
              </p:sp>
            </p:grpSp>
            <p:pic>
              <p:nvPicPr>
                <p:cNvPr id="3" name="Grafik 2" descr="File:Vwwheelbw.svg - Wikimedia Commons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BEBA8EAE-BF5A-486C-A8C5-ECC9F3942E4B}">
                      <a14:imgProps xmlns:a14="http://schemas.microsoft.com/office/drawing/2010/main">
                        <a14:imgLayer r:embed="rId5">
                          <a14:imgEffect>
                            <a14:saturation sat="400000"/>
                          </a14:imgEffect>
                          <a14:imgEffect>
                            <a14:brightnessContrast bright="-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82974" y="1474637"/>
                  <a:ext cx="495468" cy="480909"/>
                </a:xfrm>
                <a:prstGeom prst="rect">
                  <a:avLst/>
                </a:prstGeom>
              </p:spPr>
            </p:pic>
          </p:grpSp>
          <p:sp>
            <p:nvSpPr>
              <p:cNvPr id="80" name="Rechteckiger Pfeil 79"/>
              <p:cNvSpPr/>
              <p:nvPr/>
            </p:nvSpPr>
            <p:spPr>
              <a:xfrm rot="16200000" flipH="1">
                <a:off x="7307143" y="2457031"/>
                <a:ext cx="731520" cy="1000660"/>
              </a:xfrm>
              <a:prstGeom prst="bentArrow">
                <a:avLst/>
              </a:prstGeom>
              <a:solidFill>
                <a:schemeClr val="accent5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uppieren 85"/>
            <p:cNvGrpSpPr/>
            <p:nvPr/>
          </p:nvGrpSpPr>
          <p:grpSpPr>
            <a:xfrm>
              <a:off x="953892" y="4059419"/>
              <a:ext cx="4420868" cy="2067709"/>
              <a:chOff x="953892" y="4059419"/>
              <a:chExt cx="4420868" cy="2067709"/>
            </a:xfrm>
          </p:grpSpPr>
          <p:grpSp>
            <p:nvGrpSpPr>
              <p:cNvPr id="67" name="Gruppieren 66"/>
              <p:cNvGrpSpPr/>
              <p:nvPr/>
            </p:nvGrpSpPr>
            <p:grpSpPr>
              <a:xfrm>
                <a:off x="953892" y="4059419"/>
                <a:ext cx="3180567" cy="2067709"/>
                <a:chOff x="1150044" y="1166379"/>
                <a:chExt cx="3180567" cy="2067709"/>
              </a:xfrm>
            </p:grpSpPr>
            <p:sp>
              <p:nvSpPr>
                <p:cNvPr id="68" name="Abgerundetes Rechteck 67"/>
                <p:cNvSpPr/>
                <p:nvPr/>
              </p:nvSpPr>
              <p:spPr>
                <a:xfrm>
                  <a:off x="1395663" y="1491916"/>
                  <a:ext cx="2934948" cy="1742172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  <a:ln w="190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85750" indent="-285750">
                    <a:buFont typeface="Arial" panose="020B0604020202020204" pitchFamily="34" charset="0"/>
                    <a:buChar char="•"/>
                  </a:pPr>
                  <a:r>
                    <a:rPr lang="en-US" sz="1600" dirty="0" err="1">
                      <a:solidFill>
                        <a:schemeClr val="accent1">
                          <a:lumMod val="50000"/>
                        </a:schemeClr>
                      </a:solidFill>
                    </a:rPr>
                    <a:t>Mehr</a:t>
                  </a:r>
                  <a:r>
                    <a:rPr lang="en-US" sz="1600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 </a:t>
                  </a:r>
                  <a:r>
                    <a:rPr lang="en-US" sz="1600" dirty="0" err="1">
                      <a:solidFill>
                        <a:schemeClr val="accent1">
                          <a:lumMod val="50000"/>
                        </a:schemeClr>
                      </a:solidFill>
                    </a:rPr>
                    <a:t>als</a:t>
                  </a:r>
                  <a:r>
                    <a:rPr lang="en-US" sz="1600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 100 </a:t>
                  </a:r>
                  <a:r>
                    <a:rPr lang="en-US" sz="1600" dirty="0" err="1">
                      <a:solidFill>
                        <a:schemeClr val="accent1">
                          <a:lumMod val="50000"/>
                        </a:schemeClr>
                      </a:solidFill>
                    </a:rPr>
                    <a:t>reale</a:t>
                  </a:r>
                  <a:r>
                    <a:rPr lang="en-US" sz="1600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 </a:t>
                  </a:r>
                  <a:r>
                    <a:rPr lang="en-US" sz="1600" dirty="0" err="1">
                      <a:solidFill>
                        <a:schemeClr val="accent1">
                          <a:lumMod val="50000"/>
                        </a:schemeClr>
                      </a:solidFill>
                    </a:rPr>
                    <a:t>Lastprofile</a:t>
                  </a:r>
                  <a:r>
                    <a:rPr lang="en-US" sz="1600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 </a:t>
                  </a:r>
                  <a:r>
                    <a:rPr lang="en-US" sz="1600" dirty="0" err="1">
                      <a:solidFill>
                        <a:schemeClr val="accent1">
                          <a:lumMod val="50000"/>
                        </a:schemeClr>
                      </a:solidFill>
                    </a:rPr>
                    <a:t>aus</a:t>
                  </a:r>
                  <a:r>
                    <a:rPr lang="en-US" sz="1600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 5 </a:t>
                  </a:r>
                  <a:r>
                    <a:rPr lang="en-US" sz="1600" dirty="0" err="1">
                      <a:solidFill>
                        <a:schemeClr val="accent1">
                          <a:lumMod val="50000"/>
                        </a:schemeClr>
                      </a:solidFill>
                    </a:rPr>
                    <a:t>verschiedenen</a:t>
                  </a:r>
                  <a:r>
                    <a:rPr lang="en-US" sz="1600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 </a:t>
                  </a:r>
                  <a:r>
                    <a:rPr lang="en-US" sz="1600" dirty="0" err="1">
                      <a:solidFill>
                        <a:schemeClr val="accent1">
                          <a:lumMod val="50000"/>
                        </a:schemeClr>
                      </a:solidFill>
                    </a:rPr>
                    <a:t>Sektoren</a:t>
                  </a:r>
                  <a:endParaRPr lang="en-US" sz="1600" dirty="0">
                    <a:solidFill>
                      <a:schemeClr val="accent1">
                        <a:lumMod val="50000"/>
                      </a:schemeClr>
                    </a:solidFill>
                  </a:endParaRPr>
                </a:p>
              </p:txBody>
            </p:sp>
            <p:sp>
              <p:nvSpPr>
                <p:cNvPr id="69" name="Flussdiagramm: Verbinder 68"/>
                <p:cNvSpPr/>
                <p:nvPr/>
              </p:nvSpPr>
              <p:spPr>
                <a:xfrm>
                  <a:off x="1150044" y="1166379"/>
                  <a:ext cx="714950" cy="714950"/>
                </a:xfrm>
                <a:prstGeom prst="flowChartConnector">
                  <a:avLst/>
                </a:prstGeom>
                <a:solidFill>
                  <a:schemeClr val="bg1"/>
                </a:solidFill>
                <a:ln w="19050">
                  <a:solidFill>
                    <a:schemeClr val="accent5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0" name="Abgerundetes Rechteck 69"/>
                <p:cNvSpPr/>
                <p:nvPr/>
              </p:nvSpPr>
              <p:spPr>
                <a:xfrm>
                  <a:off x="1944127" y="1284879"/>
                  <a:ext cx="2096665" cy="417713"/>
                </a:xfrm>
                <a:prstGeom prst="roundRect">
                  <a:avLst/>
                </a:prstGeom>
                <a:solidFill>
                  <a:schemeClr val="accent5">
                    <a:lumMod val="5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/>
                    <a:t>Lastprofile</a:t>
                  </a:r>
                  <a:endParaRPr lang="en-US" dirty="0"/>
                </a:p>
              </p:txBody>
            </p:sp>
          </p:grpSp>
          <p:sp>
            <p:nvSpPr>
              <p:cNvPr id="81" name="Rechteckiger Pfeil 80"/>
              <p:cNvSpPr/>
              <p:nvPr/>
            </p:nvSpPr>
            <p:spPr>
              <a:xfrm rot="16200000" flipV="1">
                <a:off x="4508670" y="4639799"/>
                <a:ext cx="731520" cy="1000660"/>
              </a:xfrm>
              <a:prstGeom prst="bentArrow">
                <a:avLst/>
              </a:prstGeom>
              <a:solidFill>
                <a:schemeClr val="accent5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uppieren 86"/>
            <p:cNvGrpSpPr/>
            <p:nvPr/>
          </p:nvGrpSpPr>
          <p:grpSpPr>
            <a:xfrm>
              <a:off x="7282314" y="4059419"/>
              <a:ext cx="4189160" cy="2067709"/>
              <a:chOff x="7282314" y="4059419"/>
              <a:chExt cx="4189160" cy="2067709"/>
            </a:xfrm>
          </p:grpSpPr>
          <p:grpSp>
            <p:nvGrpSpPr>
              <p:cNvPr id="78" name="Gruppieren 77"/>
              <p:cNvGrpSpPr/>
              <p:nvPr/>
            </p:nvGrpSpPr>
            <p:grpSpPr>
              <a:xfrm>
                <a:off x="8290907" y="4059419"/>
                <a:ext cx="3180567" cy="2067709"/>
                <a:chOff x="6096000" y="4124213"/>
                <a:chExt cx="3180567" cy="2067709"/>
              </a:xfrm>
            </p:grpSpPr>
            <p:grpSp>
              <p:nvGrpSpPr>
                <p:cNvPr id="73" name="Gruppieren 72"/>
                <p:cNvGrpSpPr/>
                <p:nvPr/>
              </p:nvGrpSpPr>
              <p:grpSpPr>
                <a:xfrm>
                  <a:off x="6096000" y="4124213"/>
                  <a:ext cx="3180567" cy="2067709"/>
                  <a:chOff x="1150044" y="1166379"/>
                  <a:chExt cx="3180567" cy="2067709"/>
                </a:xfrm>
              </p:grpSpPr>
              <p:sp>
                <p:nvSpPr>
                  <p:cNvPr id="74" name="Abgerundetes Rechteck 73"/>
                  <p:cNvSpPr/>
                  <p:nvPr/>
                </p:nvSpPr>
                <p:spPr>
                  <a:xfrm>
                    <a:off x="1395663" y="1491916"/>
                    <a:ext cx="2934948" cy="1742172"/>
                  </a:xfrm>
                  <a:prstGeom prst="roundRect">
                    <a:avLst/>
                  </a:prstGeom>
                  <a:solidFill>
                    <a:schemeClr val="accent5">
                      <a:lumMod val="20000"/>
                      <a:lumOff val="80000"/>
                    </a:schemeClr>
                  </a:solidFill>
                  <a:ln w="1905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Verteilnetzbetreiber Netzentgelte</a:t>
                    </a:r>
                  </a:p>
                  <a:p>
                    <a:pPr marL="285750" indent="-285750">
                      <a:buFont typeface="Arial" panose="020B0604020202020204" pitchFamily="34" charset="0"/>
                      <a:buChar char="•"/>
                    </a:pPr>
                    <a:r>
                      <a:rPr lang="de-DE" sz="1600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Weitere Strompreiskomponenten</a:t>
                    </a:r>
                  </a:p>
                </p:txBody>
              </p:sp>
              <p:sp>
                <p:nvSpPr>
                  <p:cNvPr id="75" name="Flussdiagramm: Verbinder 74"/>
                  <p:cNvSpPr/>
                  <p:nvPr/>
                </p:nvSpPr>
                <p:spPr>
                  <a:xfrm>
                    <a:off x="1150044" y="1166379"/>
                    <a:ext cx="714950" cy="714950"/>
                  </a:xfrm>
                  <a:prstGeom prst="flowChartConnector">
                    <a:avLst/>
                  </a:prstGeom>
                  <a:solidFill>
                    <a:schemeClr val="bg1"/>
                  </a:solidFill>
                  <a:ln w="19050">
                    <a:solidFill>
                      <a:schemeClr val="accent5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6" name="Abgerundetes Rechteck 75"/>
                  <p:cNvSpPr/>
                  <p:nvPr/>
                </p:nvSpPr>
                <p:spPr>
                  <a:xfrm>
                    <a:off x="1944127" y="1284879"/>
                    <a:ext cx="2096665" cy="417713"/>
                  </a:xfrm>
                  <a:prstGeom prst="roundRect">
                    <a:avLst/>
                  </a:prstGeom>
                  <a:solidFill>
                    <a:schemeClr val="accent5">
                      <a:lumMod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/>
                      <a:t>Preisdaten</a:t>
                    </a:r>
                    <a:endParaRPr lang="en-US" dirty="0"/>
                  </a:p>
                </p:txBody>
              </p:sp>
            </p:grpSp>
            <p:pic>
              <p:nvPicPr>
                <p:cNvPr id="57" name="Grafik 56" descr="&lt;strong&gt;Vector&lt;/strong&gt; Illustration of Stack Coins Or Dollar Symbol Icon ...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55346" y="4256720"/>
                  <a:ext cx="432828" cy="432828"/>
                </a:xfrm>
                <a:prstGeom prst="rect">
                  <a:avLst/>
                </a:prstGeom>
              </p:spPr>
            </p:pic>
          </p:grpSp>
          <p:sp>
            <p:nvSpPr>
              <p:cNvPr id="82" name="Rechteckiger Pfeil 81"/>
              <p:cNvSpPr/>
              <p:nvPr/>
            </p:nvSpPr>
            <p:spPr>
              <a:xfrm rot="5400000" flipH="1" flipV="1">
                <a:off x="7416884" y="4639799"/>
                <a:ext cx="731520" cy="1000660"/>
              </a:xfrm>
              <a:prstGeom prst="bentArrow">
                <a:avLst/>
              </a:prstGeom>
              <a:solidFill>
                <a:schemeClr val="accent5">
                  <a:lumMod val="7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3" name="Abgerundetes Rechteck 82"/>
            <p:cNvSpPr/>
            <p:nvPr/>
          </p:nvSpPr>
          <p:spPr>
            <a:xfrm>
              <a:off x="4813446" y="3608199"/>
              <a:ext cx="2798473" cy="881090"/>
            </a:xfrm>
            <a:prstGeom prst="roundRect">
              <a:avLst/>
            </a:prstGeom>
            <a:solidFill>
              <a:schemeClr val="accent5">
                <a:lumMod val="50000"/>
              </a:schemeClr>
            </a:solidFill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/>
                <a:t>Modellierung Spitzenlastkappung</a:t>
              </a:r>
              <a:endParaRPr lang="en-US" sz="2000" b="1" dirty="0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5C86EA45-4700-4F7E-8D4C-E8CE6F21C107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10345" y="4243402"/>
            <a:ext cx="573186" cy="352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497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Lineares Optimierungsmodell</a:t>
            </a:r>
            <a:endParaRPr lang="en-US" sz="32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5</a:t>
            </a:fld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5CD5EFD-3AC2-419B-B0B9-09C08389EAAB}"/>
              </a:ext>
            </a:extLst>
          </p:cNvPr>
          <p:cNvGrpSpPr/>
          <p:nvPr/>
        </p:nvGrpSpPr>
        <p:grpSpPr>
          <a:xfrm>
            <a:off x="1320677" y="1763511"/>
            <a:ext cx="7179647" cy="4326874"/>
            <a:chOff x="6523831" y="3826601"/>
            <a:chExt cx="3843791" cy="1887475"/>
          </a:xfrm>
        </p:grpSpPr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AB19A6B7-40D6-43F4-8CC5-A5E96205AA2C}"/>
                </a:ext>
              </a:extLst>
            </p:cNvPr>
            <p:cNvSpPr txBox="1"/>
            <p:nvPr/>
          </p:nvSpPr>
          <p:spPr>
            <a:xfrm>
              <a:off x="7968366" y="5579817"/>
              <a:ext cx="1385198" cy="13425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de-DE" sz="1400" dirty="0"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Zeit</a:t>
              </a:r>
              <a:endParaRPr lang="de-DE" dirty="0"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1C4E3058-BE99-427A-B4B1-3B39F1002681}"/>
                </a:ext>
              </a:extLst>
            </p:cNvPr>
            <p:cNvGrpSpPr/>
            <p:nvPr/>
          </p:nvGrpSpPr>
          <p:grpSpPr>
            <a:xfrm>
              <a:off x="6523831" y="3826601"/>
              <a:ext cx="3843791" cy="1724136"/>
              <a:chOff x="6523831" y="3826601"/>
              <a:chExt cx="3843791" cy="1724136"/>
            </a:xfrm>
          </p:grpSpPr>
          <p:sp>
            <p:nvSpPr>
              <p:cNvPr id="11" name="Freihandform 72">
                <a:extLst>
                  <a:ext uri="{FF2B5EF4-FFF2-40B4-BE49-F238E27FC236}">
                    <a16:creationId xmlns:a16="http://schemas.microsoft.com/office/drawing/2014/main" id="{DA649C11-5C64-4035-A38C-3627FAD564BA}"/>
                  </a:ext>
                </a:extLst>
              </p:cNvPr>
              <p:cNvSpPr/>
              <p:nvPr/>
            </p:nvSpPr>
            <p:spPr>
              <a:xfrm rot="10800000">
                <a:off x="8217571" y="4587256"/>
                <a:ext cx="346120" cy="321585"/>
              </a:xfrm>
              <a:custGeom>
                <a:avLst/>
                <a:gdLst>
                  <a:gd name="connsiteX0" fmla="*/ 0 w 397042"/>
                  <a:gd name="connsiteY0" fmla="*/ 397042 h 397042"/>
                  <a:gd name="connsiteX1" fmla="*/ 108284 w 397042"/>
                  <a:gd name="connsiteY1" fmla="*/ 84221 h 397042"/>
                  <a:gd name="connsiteX2" fmla="*/ 192505 w 397042"/>
                  <a:gd name="connsiteY2" fmla="*/ 0 h 397042"/>
                  <a:gd name="connsiteX3" fmla="*/ 276726 w 397042"/>
                  <a:gd name="connsiteY3" fmla="*/ 84221 h 397042"/>
                  <a:gd name="connsiteX4" fmla="*/ 397042 w 397042"/>
                  <a:gd name="connsiteY4" fmla="*/ 397042 h 397042"/>
                  <a:gd name="connsiteX5" fmla="*/ 0 w 397042"/>
                  <a:gd name="connsiteY5" fmla="*/ 397042 h 397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7042" h="397042">
                    <a:moveTo>
                      <a:pt x="0" y="397042"/>
                    </a:moveTo>
                    <a:lnTo>
                      <a:pt x="108284" y="84221"/>
                    </a:lnTo>
                    <a:lnTo>
                      <a:pt x="192505" y="0"/>
                    </a:lnTo>
                    <a:lnTo>
                      <a:pt x="276726" y="84221"/>
                    </a:lnTo>
                    <a:lnTo>
                      <a:pt x="397042" y="397042"/>
                    </a:lnTo>
                    <a:lnTo>
                      <a:pt x="0" y="397042"/>
                    </a:lnTo>
                    <a:close/>
                  </a:path>
                </a:pathLst>
              </a:custGeom>
              <a:pattFill prst="wdDnDiag">
                <a:fgClr>
                  <a:srgbClr val="00B050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2" name="Freihandform 73">
                <a:extLst>
                  <a:ext uri="{FF2B5EF4-FFF2-40B4-BE49-F238E27FC236}">
                    <a16:creationId xmlns:a16="http://schemas.microsoft.com/office/drawing/2014/main" id="{0041C620-247D-4296-AB9C-CD43F137D2F0}"/>
                  </a:ext>
                </a:extLst>
              </p:cNvPr>
              <p:cNvSpPr/>
              <p:nvPr/>
            </p:nvSpPr>
            <p:spPr>
              <a:xfrm>
                <a:off x="7775910" y="4168942"/>
                <a:ext cx="444322" cy="397042"/>
              </a:xfrm>
              <a:custGeom>
                <a:avLst/>
                <a:gdLst>
                  <a:gd name="connsiteX0" fmla="*/ 0 w 397042"/>
                  <a:gd name="connsiteY0" fmla="*/ 397042 h 397042"/>
                  <a:gd name="connsiteX1" fmla="*/ 108284 w 397042"/>
                  <a:gd name="connsiteY1" fmla="*/ 84221 h 397042"/>
                  <a:gd name="connsiteX2" fmla="*/ 192505 w 397042"/>
                  <a:gd name="connsiteY2" fmla="*/ 0 h 397042"/>
                  <a:gd name="connsiteX3" fmla="*/ 276726 w 397042"/>
                  <a:gd name="connsiteY3" fmla="*/ 84221 h 397042"/>
                  <a:gd name="connsiteX4" fmla="*/ 397042 w 397042"/>
                  <a:gd name="connsiteY4" fmla="*/ 397042 h 397042"/>
                  <a:gd name="connsiteX5" fmla="*/ 0 w 397042"/>
                  <a:gd name="connsiteY5" fmla="*/ 397042 h 397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7042" h="397042">
                    <a:moveTo>
                      <a:pt x="0" y="397042"/>
                    </a:moveTo>
                    <a:lnTo>
                      <a:pt x="108284" y="84221"/>
                    </a:lnTo>
                    <a:lnTo>
                      <a:pt x="192505" y="0"/>
                    </a:lnTo>
                    <a:lnTo>
                      <a:pt x="276726" y="84221"/>
                    </a:lnTo>
                    <a:lnTo>
                      <a:pt x="397042" y="397042"/>
                    </a:lnTo>
                    <a:lnTo>
                      <a:pt x="0" y="397042"/>
                    </a:lnTo>
                    <a:close/>
                  </a:path>
                </a:pathLst>
              </a:custGeom>
              <a:pattFill prst="wdDnDiag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cxnSp>
            <p:nvCxnSpPr>
              <p:cNvPr id="15" name="Gerader Verbinder 14">
                <a:extLst>
                  <a:ext uri="{FF2B5EF4-FFF2-40B4-BE49-F238E27FC236}">
                    <a16:creationId xmlns:a16="http://schemas.microsoft.com/office/drawing/2014/main" id="{5BDC8A8C-3D84-4D5F-8A89-495D3F227422}"/>
                  </a:ext>
                </a:extLst>
              </p:cNvPr>
              <p:cNvCxnSpPr/>
              <p:nvPr/>
            </p:nvCxnSpPr>
            <p:spPr>
              <a:xfrm>
                <a:off x="6767762" y="5532689"/>
                <a:ext cx="3599860" cy="18048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15">
                <a:extLst>
                  <a:ext uri="{FF2B5EF4-FFF2-40B4-BE49-F238E27FC236}">
                    <a16:creationId xmlns:a16="http://schemas.microsoft.com/office/drawing/2014/main" id="{76F06819-C6F2-4949-B2E2-2E4DFAD2DB4B}"/>
                  </a:ext>
                </a:extLst>
              </p:cNvPr>
              <p:cNvCxnSpPr/>
              <p:nvPr/>
            </p:nvCxnSpPr>
            <p:spPr>
              <a:xfrm flipH="1" flipV="1">
                <a:off x="6767762" y="3826601"/>
                <a:ext cx="2006" cy="1708596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1FFEB8E1-37A5-4E47-BD7A-0C0318F83EAF}"/>
                  </a:ext>
                </a:extLst>
              </p:cNvPr>
              <p:cNvSpPr txBox="1"/>
              <p:nvPr/>
            </p:nvSpPr>
            <p:spPr>
              <a:xfrm rot="16200000">
                <a:off x="5824668" y="4640359"/>
                <a:ext cx="1563102" cy="16477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de-DE" sz="1400" dirty="0">
                    <a:latin typeface="Segoe UI Semilight" panose="020B0402040204020203" pitchFamily="34" charset="0"/>
                    <a:cs typeface="Segoe UI Semilight" panose="020B0402040204020203" pitchFamily="34" charset="0"/>
                  </a:rPr>
                  <a:t>Leistung in kW</a:t>
                </a:r>
                <a:endParaRPr lang="de-DE" dirty="0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18" name="Freihandform 77">
                <a:extLst>
                  <a:ext uri="{FF2B5EF4-FFF2-40B4-BE49-F238E27FC236}">
                    <a16:creationId xmlns:a16="http://schemas.microsoft.com/office/drawing/2014/main" id="{81367C6D-16B9-4B1A-9346-BA3CE133E62C}"/>
                  </a:ext>
                </a:extLst>
              </p:cNvPr>
              <p:cNvSpPr/>
              <p:nvPr/>
            </p:nvSpPr>
            <p:spPr>
              <a:xfrm>
                <a:off x="6773778" y="4174849"/>
                <a:ext cx="3457224" cy="938572"/>
              </a:xfrm>
              <a:custGeom>
                <a:avLst/>
                <a:gdLst>
                  <a:gd name="connsiteX0" fmla="*/ 0 w 2863516"/>
                  <a:gd name="connsiteY0" fmla="*/ 926540 h 938572"/>
                  <a:gd name="connsiteX1" fmla="*/ 655721 w 2863516"/>
                  <a:gd name="connsiteY1" fmla="*/ 788177 h 938572"/>
                  <a:gd name="connsiteX2" fmla="*/ 1010653 w 2863516"/>
                  <a:gd name="connsiteY2" fmla="*/ 108 h 938572"/>
                  <a:gd name="connsiteX3" fmla="*/ 1335505 w 2863516"/>
                  <a:gd name="connsiteY3" fmla="*/ 728019 h 938572"/>
                  <a:gd name="connsiteX4" fmla="*/ 1558089 w 2863516"/>
                  <a:gd name="connsiteY4" fmla="*/ 282851 h 938572"/>
                  <a:gd name="connsiteX5" fmla="*/ 1750595 w 2863516"/>
                  <a:gd name="connsiteY5" fmla="*/ 559577 h 938572"/>
                  <a:gd name="connsiteX6" fmla="*/ 2075447 w 2863516"/>
                  <a:gd name="connsiteY6" fmla="*/ 643798 h 938572"/>
                  <a:gd name="connsiteX7" fmla="*/ 2466474 w 2863516"/>
                  <a:gd name="connsiteY7" fmla="*/ 673877 h 938572"/>
                  <a:gd name="connsiteX8" fmla="*/ 2863516 w 2863516"/>
                  <a:gd name="connsiteY8" fmla="*/ 938572 h 93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63516" h="938572">
                    <a:moveTo>
                      <a:pt x="0" y="926540"/>
                    </a:moveTo>
                    <a:cubicBezTo>
                      <a:pt x="243639" y="934561"/>
                      <a:pt x="487279" y="942582"/>
                      <a:pt x="655721" y="788177"/>
                    </a:cubicBezTo>
                    <a:cubicBezTo>
                      <a:pt x="824163" y="633772"/>
                      <a:pt x="897356" y="10134"/>
                      <a:pt x="1010653" y="108"/>
                    </a:cubicBezTo>
                    <a:cubicBezTo>
                      <a:pt x="1123950" y="-9918"/>
                      <a:pt x="1244266" y="680895"/>
                      <a:pt x="1335505" y="728019"/>
                    </a:cubicBezTo>
                    <a:cubicBezTo>
                      <a:pt x="1426744" y="775143"/>
                      <a:pt x="1488907" y="310925"/>
                      <a:pt x="1558089" y="282851"/>
                    </a:cubicBezTo>
                    <a:cubicBezTo>
                      <a:pt x="1627271" y="254777"/>
                      <a:pt x="1664369" y="499419"/>
                      <a:pt x="1750595" y="559577"/>
                    </a:cubicBezTo>
                    <a:cubicBezTo>
                      <a:pt x="1836821" y="619735"/>
                      <a:pt x="1956134" y="624748"/>
                      <a:pt x="2075447" y="643798"/>
                    </a:cubicBezTo>
                    <a:cubicBezTo>
                      <a:pt x="2194760" y="662848"/>
                      <a:pt x="2335129" y="624748"/>
                      <a:pt x="2466474" y="673877"/>
                    </a:cubicBezTo>
                    <a:cubicBezTo>
                      <a:pt x="2597819" y="723006"/>
                      <a:pt x="2797342" y="895459"/>
                      <a:pt x="2863516" y="938572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cxnSp>
            <p:nvCxnSpPr>
              <p:cNvPr id="20" name="Gerader Verbinder 19">
                <a:extLst>
                  <a:ext uri="{FF2B5EF4-FFF2-40B4-BE49-F238E27FC236}">
                    <a16:creationId xmlns:a16="http://schemas.microsoft.com/office/drawing/2014/main" id="{7BCE77AC-7903-4630-BEA8-E3B475DC08A0}"/>
                  </a:ext>
                </a:extLst>
              </p:cNvPr>
              <p:cNvCxnSpPr/>
              <p:nvPr/>
            </p:nvCxnSpPr>
            <p:spPr>
              <a:xfrm>
                <a:off x="6809873" y="4573893"/>
                <a:ext cx="3525145" cy="0"/>
              </a:xfrm>
              <a:prstGeom prst="line">
                <a:avLst/>
              </a:prstGeom>
              <a:ln w="19050">
                <a:prstDash val="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Freihandform 81">
                <a:extLst>
                  <a:ext uri="{FF2B5EF4-FFF2-40B4-BE49-F238E27FC236}">
                    <a16:creationId xmlns:a16="http://schemas.microsoft.com/office/drawing/2014/main" id="{BD0CBD5C-6DC4-43AE-BBE4-5E42862306A5}"/>
                  </a:ext>
                </a:extLst>
              </p:cNvPr>
              <p:cNvSpPr/>
              <p:nvPr/>
            </p:nvSpPr>
            <p:spPr>
              <a:xfrm>
                <a:off x="8581653" y="4459956"/>
                <a:ext cx="158625" cy="100573"/>
              </a:xfrm>
              <a:custGeom>
                <a:avLst/>
                <a:gdLst>
                  <a:gd name="connsiteX0" fmla="*/ 0 w 397042"/>
                  <a:gd name="connsiteY0" fmla="*/ 397042 h 397042"/>
                  <a:gd name="connsiteX1" fmla="*/ 108284 w 397042"/>
                  <a:gd name="connsiteY1" fmla="*/ 84221 h 397042"/>
                  <a:gd name="connsiteX2" fmla="*/ 192505 w 397042"/>
                  <a:gd name="connsiteY2" fmla="*/ 0 h 397042"/>
                  <a:gd name="connsiteX3" fmla="*/ 276726 w 397042"/>
                  <a:gd name="connsiteY3" fmla="*/ 84221 h 397042"/>
                  <a:gd name="connsiteX4" fmla="*/ 397042 w 397042"/>
                  <a:gd name="connsiteY4" fmla="*/ 397042 h 397042"/>
                  <a:gd name="connsiteX5" fmla="*/ 0 w 397042"/>
                  <a:gd name="connsiteY5" fmla="*/ 397042 h 397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7042" h="397042">
                    <a:moveTo>
                      <a:pt x="0" y="397042"/>
                    </a:moveTo>
                    <a:lnTo>
                      <a:pt x="108284" y="84221"/>
                    </a:lnTo>
                    <a:lnTo>
                      <a:pt x="192505" y="0"/>
                    </a:lnTo>
                    <a:lnTo>
                      <a:pt x="276726" y="84221"/>
                    </a:lnTo>
                    <a:lnTo>
                      <a:pt x="397042" y="397042"/>
                    </a:lnTo>
                    <a:lnTo>
                      <a:pt x="0" y="397042"/>
                    </a:lnTo>
                    <a:close/>
                  </a:path>
                </a:pathLst>
              </a:custGeom>
              <a:pattFill prst="wdDnDiag">
                <a:fgClr>
                  <a:schemeClr val="accent4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2" name="Freihandform 82">
                <a:extLst>
                  <a:ext uri="{FF2B5EF4-FFF2-40B4-BE49-F238E27FC236}">
                    <a16:creationId xmlns:a16="http://schemas.microsoft.com/office/drawing/2014/main" id="{8576FEF1-4FA9-44B2-9C45-839C0C694F1A}"/>
                  </a:ext>
                </a:extLst>
              </p:cNvPr>
              <p:cNvSpPr/>
              <p:nvPr/>
            </p:nvSpPr>
            <p:spPr>
              <a:xfrm>
                <a:off x="8788048" y="4584512"/>
                <a:ext cx="188200" cy="178594"/>
              </a:xfrm>
              <a:custGeom>
                <a:avLst/>
                <a:gdLst>
                  <a:gd name="connsiteX0" fmla="*/ 0 w 166687"/>
                  <a:gd name="connsiteY0" fmla="*/ 0 h 178594"/>
                  <a:gd name="connsiteX1" fmla="*/ 33337 w 166687"/>
                  <a:gd name="connsiteY1" fmla="*/ 66675 h 178594"/>
                  <a:gd name="connsiteX2" fmla="*/ 66675 w 166687"/>
                  <a:gd name="connsiteY2" fmla="*/ 123825 h 178594"/>
                  <a:gd name="connsiteX3" fmla="*/ 128587 w 166687"/>
                  <a:gd name="connsiteY3" fmla="*/ 164306 h 178594"/>
                  <a:gd name="connsiteX4" fmla="*/ 166687 w 166687"/>
                  <a:gd name="connsiteY4" fmla="*/ 178594 h 178594"/>
                  <a:gd name="connsiteX5" fmla="*/ 166687 w 166687"/>
                  <a:gd name="connsiteY5" fmla="*/ 7144 h 178594"/>
                  <a:gd name="connsiteX6" fmla="*/ 0 w 166687"/>
                  <a:gd name="connsiteY6" fmla="*/ 0 h 178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687" h="178594">
                    <a:moveTo>
                      <a:pt x="0" y="0"/>
                    </a:moveTo>
                    <a:lnTo>
                      <a:pt x="33337" y="66675"/>
                    </a:lnTo>
                    <a:lnTo>
                      <a:pt x="66675" y="123825"/>
                    </a:lnTo>
                    <a:lnTo>
                      <a:pt x="128587" y="164306"/>
                    </a:lnTo>
                    <a:lnTo>
                      <a:pt x="166687" y="178594"/>
                    </a:lnTo>
                    <a:lnTo>
                      <a:pt x="166687" y="7144"/>
                    </a:lnTo>
                    <a:lnTo>
                      <a:pt x="0" y="0"/>
                    </a:lnTo>
                    <a:close/>
                  </a:path>
                </a:pathLst>
              </a:custGeom>
              <a:pattFill prst="wdDnDiag">
                <a:fgClr>
                  <a:srgbClr val="00B050"/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5" name="Bogen 24">
                <a:extLst>
                  <a:ext uri="{FF2B5EF4-FFF2-40B4-BE49-F238E27FC236}">
                    <a16:creationId xmlns:a16="http://schemas.microsoft.com/office/drawing/2014/main" id="{8CD274CC-8143-4776-B3A3-11BFB52A0E20}"/>
                  </a:ext>
                </a:extLst>
              </p:cNvPr>
              <p:cNvSpPr/>
              <p:nvPr/>
            </p:nvSpPr>
            <p:spPr>
              <a:xfrm rot="10800000">
                <a:off x="7948267" y="4109641"/>
                <a:ext cx="548484" cy="653465"/>
              </a:xfrm>
              <a:prstGeom prst="arc">
                <a:avLst>
                  <a:gd name="adj1" fmla="val 15585983"/>
                  <a:gd name="adj2" fmla="val 0"/>
                </a:avLst>
              </a:prstGeom>
              <a:ln w="28575"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26" name="Bogen 25">
                <a:extLst>
                  <a:ext uri="{FF2B5EF4-FFF2-40B4-BE49-F238E27FC236}">
                    <a16:creationId xmlns:a16="http://schemas.microsoft.com/office/drawing/2014/main" id="{36E1D54A-AEA1-490F-BD22-155CABA4258E}"/>
                  </a:ext>
                </a:extLst>
              </p:cNvPr>
              <p:cNvSpPr/>
              <p:nvPr/>
            </p:nvSpPr>
            <p:spPr>
              <a:xfrm rot="10800000">
                <a:off x="8662210" y="4316405"/>
                <a:ext cx="332086" cy="363367"/>
              </a:xfrm>
              <a:prstGeom prst="arc">
                <a:avLst>
                  <a:gd name="adj1" fmla="val 15585983"/>
                  <a:gd name="adj2" fmla="val 0"/>
                </a:avLst>
              </a:prstGeom>
              <a:ln w="28575"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D0D2ACAF-C2D6-486C-B350-991002D0745C}"/>
                  </a:ext>
                </a:extLst>
              </p:cNvPr>
              <p:cNvSpPr txBox="1"/>
              <p:nvPr/>
            </p:nvSpPr>
            <p:spPr>
              <a:xfrm>
                <a:off x="8729350" y="3239465"/>
                <a:ext cx="3056250" cy="5326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DE" sz="1400" dirty="0">
                    <a:effectLst/>
                  </a:rPr>
                  <a:t>Variable  Leistungsobergrenze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DE" sz="1400" i="1" smtClean="0">
                              <a:effectLst/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4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en-US" sz="14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𝑚𝑎𝑥</m:t>
                          </m:r>
                        </m:sup>
                      </m:sSup>
                      <m:r>
                        <a:rPr lang="en-US" sz="1400" i="1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≥</m:t>
                      </m:r>
                      <m:sSub>
                        <m:sSubPr>
                          <m:ctrlPr>
                            <a:rPr lang="de-DE" sz="14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4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de-DE" sz="1400" b="0" i="1" smtClean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de-DE" sz="1400" b="0" i="1" smtClean="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𝑙𝑜𝑎𝑑</m:t>
                          </m:r>
                        </m:sub>
                      </m:sSub>
                      <m:r>
                        <a:rPr lang="de-DE" sz="1400" b="0" i="1" smtClean="0">
                          <a:effectLst/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4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𝑐h𝑎</m:t>
                          </m:r>
                        </m:sub>
                      </m:sSub>
                      <m:r>
                        <a:rPr lang="de-DE" sz="1400" b="0" i="1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4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4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𝑡</m:t>
                          </m:r>
                          <m:r>
                            <a:rPr lang="de-DE" sz="14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𝐸𝑉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,</m:t>
                          </m:r>
                          <m:r>
                            <a:rPr lang="de-DE" sz="1400" b="0" i="1" smtClean="0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𝑑𝑖𝑠𝑐h𝑎</m:t>
                          </m:r>
                        </m:sub>
                      </m:sSub>
                    </m:oMath>
                  </m:oMathPara>
                </a14:m>
                <a:endParaRPr lang="de-DE" sz="1400" dirty="0"/>
              </a:p>
            </p:txBody>
          </p:sp>
        </mc:Choice>
        <mc:Fallback xmlns="">
          <p:sp>
            <p:nvSpPr>
              <p:cNvPr id="33" name="Textfeld 32">
                <a:extLst>
                  <a:ext uri="{FF2B5EF4-FFF2-40B4-BE49-F238E27FC236}">
                    <a16:creationId xmlns:a16="http://schemas.microsoft.com/office/drawing/2014/main" id="{D0D2ACAF-C2D6-486C-B350-991002D074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29350" y="3239465"/>
                <a:ext cx="3056250" cy="532646"/>
              </a:xfrm>
              <a:prstGeom prst="rect">
                <a:avLst/>
              </a:prstGeom>
              <a:blipFill>
                <a:blip r:embed="rId3"/>
                <a:stretch>
                  <a:fillRect l="-599" t="-227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30F5D390-B742-4DB5-9A46-E078A98CBBC2}"/>
                  </a:ext>
                </a:extLst>
              </p:cNvPr>
              <p:cNvSpPr txBox="1"/>
              <p:nvPr/>
            </p:nvSpPr>
            <p:spPr>
              <a:xfrm>
                <a:off x="8729350" y="1846995"/>
                <a:ext cx="3331903" cy="8530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DE" sz="1400" dirty="0">
                    <a:effectLst/>
                  </a:rPr>
                  <a:t>Zielfunktion zur Minimierung der Stromkosten eines Unternehmens: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05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05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1050" b="0" i="1" smtClean="0">
                              <a:latin typeface="Cambria Math" panose="02040503050406030204" pitchFamily="18" charset="0"/>
                            </a:rPr>
                            <m:t>𝑆𝑡𝑟𝑜𝑚𝑘𝑜𝑠𝑡𝑒𝑛</m:t>
                          </m:r>
                        </m:sub>
                      </m:sSub>
                      <m:r>
                        <a:rPr lang="en-US" sz="1050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9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900" b="0" i="1" smtClean="0">
                              <a:latin typeface="Cambria Math" panose="02040503050406030204" pitchFamily="18" charset="0"/>
                            </a:rPr>
                            <m:t>𝑁𝑒𝑡𝑧𝑒𝑛𝑡𝑔𝑒𝑙𝑡𝑒</m:t>
                          </m:r>
                        </m:sub>
                      </m:sSub>
                      <m:r>
                        <a:rPr lang="de-DE" sz="9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900" b="0" i="1" smtClean="0"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de-DE" sz="900" b="0" i="1" smtClean="0">
                          <a:latin typeface="Cambria Math" panose="02040503050406030204" pitchFamily="18" charset="0"/>
                        </a:rPr>
                        <m:t>)+</m:t>
                      </m:r>
                      <m:sSub>
                        <m:sSubPr>
                          <m:ctrlPr>
                            <a:rPr lang="de-DE" sz="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9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900" i="1">
                              <a:latin typeface="Cambria Math" panose="02040503050406030204" pitchFamily="18" charset="0"/>
                            </a:rPr>
                            <m:t>𝑁𝑒𝑡𝑧𝑒𝑛𝑡𝑔𝑒𝑙𝑡𝑒</m:t>
                          </m:r>
                        </m:sub>
                      </m:sSub>
                      <m:r>
                        <a:rPr lang="de-DE" sz="900" b="0" i="1" smtClean="0">
                          <a:latin typeface="Cambria Math" panose="02040503050406030204" pitchFamily="18" charset="0"/>
                        </a:rPr>
                        <m:t>(</m:t>
                      </m:r>
                      <m:sSup>
                        <m:sSupPr>
                          <m:ctrlPr>
                            <a:rPr lang="de-DE" sz="9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9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𝑃</m:t>
                          </m:r>
                        </m:e>
                        <m:sup>
                          <m:r>
                            <a:rPr lang="en-US" sz="900" i="1"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𝑚𝑎𝑥</m:t>
                          </m:r>
                        </m:sup>
                      </m:sSup>
                      <m:r>
                        <a:rPr lang="de-DE" sz="900" b="0" i="1" smtClean="0">
                          <a:latin typeface="Cambria Math" panose="020405030504060302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m:t>)</m:t>
                      </m:r>
                      <m:r>
                        <a:rPr lang="de-DE" sz="9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de-DE" sz="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900" i="1">
                              <a:latin typeface="Cambria Math" panose="02040503050406030204" pitchFamily="18" charset="0"/>
                            </a:rPr>
                            <m:t>𝑓</m:t>
                          </m:r>
                        </m:e>
                        <m:sub>
                          <m:r>
                            <a:rPr lang="de-DE" sz="900" b="0" i="1" smtClean="0">
                              <a:latin typeface="Cambria Math" panose="02040503050406030204" pitchFamily="18" charset="0"/>
                            </a:rPr>
                            <m:t>𝑠𝑜𝑛𝑠𝑡𝑖𝑔𝑒</m:t>
                          </m:r>
                          <m:r>
                            <a:rPr lang="de-DE" sz="9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DE" sz="900" b="0" i="1" smtClean="0">
                              <a:latin typeface="Cambria Math" panose="02040503050406030204" pitchFamily="18" charset="0"/>
                            </a:rPr>
                            <m:t>𝐾𝑜𝑠𝑡𝑒𝑛</m:t>
                          </m:r>
                        </m:sub>
                      </m:sSub>
                      <m:r>
                        <a:rPr lang="de-DE" sz="9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de-DE" sz="900" b="0" i="1" smtClean="0"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de-DE" sz="9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DE" sz="1050" dirty="0"/>
              </a:p>
            </p:txBody>
          </p:sp>
        </mc:Choice>
        <mc:Fallback xmlns="">
          <p:sp>
            <p:nvSpPr>
              <p:cNvPr id="34" name="Textfeld 33">
                <a:extLst>
                  <a:ext uri="{FF2B5EF4-FFF2-40B4-BE49-F238E27FC236}">
                    <a16:creationId xmlns:a16="http://schemas.microsoft.com/office/drawing/2014/main" id="{30F5D390-B742-4DB5-9A46-E078A98CBBC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29350" y="1846995"/>
                <a:ext cx="3331903" cy="853054"/>
              </a:xfrm>
              <a:prstGeom prst="rect">
                <a:avLst/>
              </a:prstGeom>
              <a:blipFill>
                <a:blip r:embed="rId4"/>
                <a:stretch>
                  <a:fillRect l="-548" t="-2143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3" name="Textfeld 22">
            <a:extLst>
              <a:ext uri="{FF2B5EF4-FFF2-40B4-BE49-F238E27FC236}">
                <a16:creationId xmlns:a16="http://schemas.microsoft.com/office/drawing/2014/main" id="{1364B1AD-C36C-4316-998F-F0D0E1D5D059}"/>
              </a:ext>
            </a:extLst>
          </p:cNvPr>
          <p:cNvSpPr txBox="1"/>
          <p:nvPr/>
        </p:nvSpPr>
        <p:spPr>
          <a:xfrm>
            <a:off x="8729350" y="4293271"/>
            <a:ext cx="305625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>
                <a:effectLst/>
              </a:rPr>
              <a:t>Modellierung der  Elektrofahrzeuge mit Randbedingungen (Verbrauch, eingeschränkte Verfügbarkeit, min </a:t>
            </a:r>
            <a:r>
              <a:rPr lang="de-DE" sz="1400" dirty="0" err="1">
                <a:effectLst/>
              </a:rPr>
              <a:t>SoC</a:t>
            </a:r>
            <a:r>
              <a:rPr lang="de-DE" sz="1400" dirty="0">
                <a:effectLst/>
              </a:rPr>
              <a:t>, ..)</a:t>
            </a:r>
            <a:endParaRPr lang="de-DE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14C122F-1F1C-4D2B-BB3E-5B2E765E36CD}"/>
              </a:ext>
            </a:extLst>
          </p:cNvPr>
          <p:cNvSpPr txBox="1"/>
          <p:nvPr/>
        </p:nvSpPr>
        <p:spPr>
          <a:xfrm>
            <a:off x="766762" y="6121990"/>
            <a:ext cx="104441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solidFill>
                  <a:srgbClr val="356CA5"/>
                </a:solidFill>
                <a:latin typeface="+mj-lt"/>
              </a:rPr>
              <a:t>Dargestellte Erlöse eines Unternehmens beziehen sich auf Differenzerlöse bei der Integration von bidirektionalen gegenüber der Integration von gesteuert geladenen EVs</a:t>
            </a:r>
            <a:endParaRPr lang="en-US" sz="2000" dirty="0">
              <a:solidFill>
                <a:srgbClr val="356CA5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171798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9C8329D-11ED-4815-9834-9DA759BF88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5853" y="1676392"/>
            <a:ext cx="3513220" cy="4679959"/>
          </a:xfrm>
        </p:spPr>
        <p:txBody>
          <a:bodyPr/>
          <a:lstStyle/>
          <a:p>
            <a:r>
              <a:rPr lang="de-DE" dirty="0"/>
              <a:t>Unterteilung der Lastprofile anhand der Spitzenlast der Unternehmen </a:t>
            </a:r>
          </a:p>
          <a:p>
            <a:r>
              <a:rPr lang="de-DE" dirty="0"/>
              <a:t>Modellierung von 1-30 bidirektionalen EVSEs mit Elektrofahrzeugen vor Ort</a:t>
            </a:r>
          </a:p>
          <a:p>
            <a:endParaRPr lang="de-DE" dirty="0"/>
          </a:p>
          <a:p>
            <a:pPr>
              <a:buFont typeface="Segoe UI Semilight" panose="020B0402040204020203" pitchFamily="34" charset="0"/>
              <a:buChar char="→"/>
            </a:pPr>
            <a:r>
              <a:rPr lang="de-DE" dirty="0"/>
              <a:t>Mittlere Erlöse der ersten integrierten bidirektionalen Wallbox hat keine große Abhängigkeit von Spitzenlast des Unternehmens</a:t>
            </a:r>
          </a:p>
          <a:p>
            <a:pPr>
              <a:buFont typeface="Segoe UI Semilight" panose="020B0402040204020203" pitchFamily="34" charset="0"/>
              <a:buChar char="→"/>
            </a:pPr>
            <a:r>
              <a:rPr lang="de-DE" dirty="0"/>
              <a:t>Die Integration von mehr als 10 bidirektionalen EVSEs eignet sich besonders gut für Unternehmen mit Spitzenlasten &gt;= 1000 kW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6763" y="8447"/>
            <a:ext cx="10447861" cy="1325563"/>
          </a:xfrm>
        </p:spPr>
        <p:txBody>
          <a:bodyPr>
            <a:normAutofit/>
          </a:bodyPr>
          <a:lstStyle/>
          <a:p>
            <a:r>
              <a:rPr lang="de-DE" sz="3200" b="1" dirty="0"/>
              <a:t>Erlöspotenziale unterteilt nach Spitzenlast</a:t>
            </a:r>
            <a:endParaRPr lang="en-US" sz="32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6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525" y="1676392"/>
            <a:ext cx="6208294" cy="4118781"/>
          </a:xfrm>
          <a:prstGeom prst="rect">
            <a:avLst/>
          </a:prstGeom>
        </p:spPr>
      </p:pic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46FE3D2-17EF-4206-9A34-BB7DDC12B9E2}"/>
              </a:ext>
            </a:extLst>
          </p:cNvPr>
          <p:cNvCxnSpPr/>
          <p:nvPr/>
        </p:nvCxnSpPr>
        <p:spPr>
          <a:xfrm>
            <a:off x="8037094" y="1650044"/>
            <a:ext cx="0" cy="401511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01CC495E-075F-41F6-8F90-4F1C5F9A82C3}"/>
              </a:ext>
            </a:extLst>
          </p:cNvPr>
          <p:cNvSpPr txBox="1"/>
          <p:nvPr/>
        </p:nvSpPr>
        <p:spPr>
          <a:xfrm>
            <a:off x="766762" y="6121990"/>
            <a:ext cx="1025416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solidFill>
                  <a:srgbClr val="356CA5"/>
                </a:solidFill>
                <a:latin typeface="+mj-lt"/>
              </a:rPr>
              <a:t>Höhe der Spitzenlast hat signifikante Auswirkung auf Erlöspotenziale bei Integration mehrerer bidirektionaler EVSEs</a:t>
            </a:r>
            <a:endParaRPr lang="en-US" sz="2000" dirty="0">
              <a:solidFill>
                <a:srgbClr val="356CA5"/>
              </a:solidFill>
              <a:latin typeface="+mj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C5FC21-171A-459B-A089-51E6252B7F7F}"/>
              </a:ext>
            </a:extLst>
          </p:cNvPr>
          <p:cNvSpPr txBox="1"/>
          <p:nvPr/>
        </p:nvSpPr>
        <p:spPr>
          <a:xfrm rot="16200000">
            <a:off x="-474329" y="3428139"/>
            <a:ext cx="2835082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Mittlere Erlöse pro EVSE in €/a</a:t>
            </a:r>
            <a:endParaRPr lang="en-US" sz="14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EA93273-336A-4FF7-92D0-55D327EC2425}"/>
              </a:ext>
            </a:extLst>
          </p:cNvPr>
          <p:cNvSpPr txBox="1"/>
          <p:nvPr/>
        </p:nvSpPr>
        <p:spPr>
          <a:xfrm>
            <a:off x="3702242" y="5606420"/>
            <a:ext cx="104186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Spitzenlast</a:t>
            </a:r>
            <a:endParaRPr lang="en-US" sz="1400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4C84993-7BEE-4060-8CC5-4EB5B0A29219}"/>
              </a:ext>
            </a:extLst>
          </p:cNvPr>
          <p:cNvSpPr/>
          <p:nvPr/>
        </p:nvSpPr>
        <p:spPr>
          <a:xfrm>
            <a:off x="6438900" y="1842135"/>
            <a:ext cx="472246" cy="7600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299EA3A-FE2D-4FBD-965D-A783AE9F8E82}"/>
              </a:ext>
            </a:extLst>
          </p:cNvPr>
          <p:cNvSpPr txBox="1"/>
          <p:nvPr/>
        </p:nvSpPr>
        <p:spPr>
          <a:xfrm>
            <a:off x="6338954" y="1788414"/>
            <a:ext cx="10418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1 EVSE*</a:t>
            </a:r>
            <a:endParaRPr lang="en-US" sz="10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B096188-7947-466A-9849-1528755A74ED}"/>
              </a:ext>
            </a:extLst>
          </p:cNvPr>
          <p:cNvSpPr txBox="1"/>
          <p:nvPr/>
        </p:nvSpPr>
        <p:spPr>
          <a:xfrm>
            <a:off x="6338954" y="1943065"/>
            <a:ext cx="10418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5 EVSEs</a:t>
            </a:r>
            <a:endParaRPr lang="en-US" sz="10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98DA039-C006-4D3F-A5B4-DD7A06F49357}"/>
              </a:ext>
            </a:extLst>
          </p:cNvPr>
          <p:cNvSpPr txBox="1"/>
          <p:nvPr/>
        </p:nvSpPr>
        <p:spPr>
          <a:xfrm>
            <a:off x="6338954" y="2097716"/>
            <a:ext cx="10418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10 EVSEs</a:t>
            </a:r>
            <a:endParaRPr lang="en-US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E035945-A807-42FC-A1C9-D985FFA0A69B}"/>
              </a:ext>
            </a:extLst>
          </p:cNvPr>
          <p:cNvSpPr txBox="1"/>
          <p:nvPr/>
        </p:nvSpPr>
        <p:spPr>
          <a:xfrm>
            <a:off x="6338954" y="2252367"/>
            <a:ext cx="104186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20 EVSEs</a:t>
            </a:r>
            <a:endParaRPr lang="en-US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256C4B5-346F-4D22-97CD-4B7601ED1199}"/>
              </a:ext>
            </a:extLst>
          </p:cNvPr>
          <p:cNvSpPr txBox="1"/>
          <p:nvPr/>
        </p:nvSpPr>
        <p:spPr>
          <a:xfrm>
            <a:off x="6338954" y="2407017"/>
            <a:ext cx="67893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/>
              <a:t>30 EVSEs</a:t>
            </a:r>
            <a:endParaRPr lang="en-US" sz="100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88EEF43-C07C-4EB2-B61A-0EEA8C52FE85}"/>
              </a:ext>
            </a:extLst>
          </p:cNvPr>
          <p:cNvSpPr txBox="1"/>
          <p:nvPr/>
        </p:nvSpPr>
        <p:spPr>
          <a:xfrm>
            <a:off x="8456184" y="6614391"/>
            <a:ext cx="27432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100" dirty="0"/>
              <a:t>*EVSE = </a:t>
            </a:r>
            <a:r>
              <a:rPr lang="en-US" sz="1100" dirty="0"/>
              <a:t>electric vehicle supply equipment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13897368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9C8329D-11ED-4815-9834-9DA759BF88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25853" y="1676392"/>
            <a:ext cx="3513220" cy="4679959"/>
          </a:xfrm>
        </p:spPr>
        <p:txBody>
          <a:bodyPr/>
          <a:lstStyle/>
          <a:p>
            <a:r>
              <a:rPr lang="de-DE" dirty="0"/>
              <a:t>Unterteilung der Lastprofile anhand der Volllaststunden des Lastgangs der Unternehmen </a:t>
            </a:r>
          </a:p>
          <a:p>
            <a:r>
              <a:rPr lang="de-DE" dirty="0"/>
              <a:t>Modellierung von 1-30 bidirektionalen EVSEs mit Elektrofahrzeugen vor Ort</a:t>
            </a:r>
          </a:p>
          <a:p>
            <a:r>
              <a:rPr lang="de-DE" dirty="0"/>
              <a:t>Unternehmen mit VLS &lt; 5000 h/a haben alle VLS &gt;= 2500 h/a und weisen daher die gleichen Leistungsentgelte auf</a:t>
            </a:r>
          </a:p>
          <a:p>
            <a:endParaRPr lang="de-DE" dirty="0"/>
          </a:p>
          <a:p>
            <a:pPr>
              <a:buFont typeface="Segoe UI Semilight" panose="020B0402040204020203" pitchFamily="34" charset="0"/>
              <a:buChar char="→"/>
            </a:pPr>
            <a:r>
              <a:rPr lang="de-DE" dirty="0"/>
              <a:t>Keine Systematik erkennbar, ob Unternehmen mit höheren oder niedrigeren VLS größere Erlösmöglichkeiten mit sich brin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6763" y="8447"/>
            <a:ext cx="10447861" cy="1325563"/>
          </a:xfrm>
        </p:spPr>
        <p:txBody>
          <a:bodyPr>
            <a:normAutofit/>
          </a:bodyPr>
          <a:lstStyle/>
          <a:p>
            <a:r>
              <a:rPr lang="de-DE" sz="3200" b="1" dirty="0"/>
              <a:t>Erlöspotenziale unterteilt nach Spitzenlast </a:t>
            </a:r>
            <a:br>
              <a:rPr lang="de-DE" sz="3200" b="1" dirty="0"/>
            </a:br>
            <a:r>
              <a:rPr lang="de-DE" sz="3200" b="1" dirty="0"/>
              <a:t>und Volllaststunden des Lastgangs</a:t>
            </a:r>
            <a:endParaRPr lang="en-US" sz="32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7</a:t>
            </a:fld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46FE3D2-17EF-4206-9A34-BB7DDC12B9E2}"/>
              </a:ext>
            </a:extLst>
          </p:cNvPr>
          <p:cNvCxnSpPr/>
          <p:nvPr/>
        </p:nvCxnSpPr>
        <p:spPr>
          <a:xfrm>
            <a:off x="8037094" y="1650044"/>
            <a:ext cx="0" cy="401511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01CC495E-075F-41F6-8F90-4F1C5F9A82C3}"/>
              </a:ext>
            </a:extLst>
          </p:cNvPr>
          <p:cNvSpPr txBox="1"/>
          <p:nvPr/>
        </p:nvSpPr>
        <p:spPr>
          <a:xfrm>
            <a:off x="766762" y="6121990"/>
            <a:ext cx="1025416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solidFill>
                  <a:srgbClr val="356CA5"/>
                </a:solidFill>
                <a:latin typeface="+mj-lt"/>
              </a:rPr>
              <a:t>Mit steigenden Volllaststunden des Lastgangs sinken die Erlöspotenziale durch Integration bidirektionaler Elektrofahrzeuge</a:t>
            </a:r>
            <a:endParaRPr lang="en-US" sz="2000" dirty="0">
              <a:solidFill>
                <a:srgbClr val="356CA5"/>
              </a:solidFill>
              <a:latin typeface="+mj-lt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3C5FC21-171A-459B-A089-51E6252B7F7F}"/>
              </a:ext>
            </a:extLst>
          </p:cNvPr>
          <p:cNvSpPr txBox="1"/>
          <p:nvPr/>
        </p:nvSpPr>
        <p:spPr>
          <a:xfrm rot="16200000">
            <a:off x="-474329" y="3428139"/>
            <a:ext cx="2835082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Mittlere Erlöse pro EVSE in €/a</a:t>
            </a:r>
            <a:endParaRPr lang="en-US" sz="140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A0958E09-9BE7-4AE6-BCBF-CC10EBD477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337" y="2183292"/>
            <a:ext cx="7120830" cy="2797469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D4C84993-7BEE-4060-8CC5-4EB5B0A29219}"/>
              </a:ext>
            </a:extLst>
          </p:cNvPr>
          <p:cNvSpPr/>
          <p:nvPr/>
        </p:nvSpPr>
        <p:spPr>
          <a:xfrm>
            <a:off x="1517074" y="2195276"/>
            <a:ext cx="5855108" cy="218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C299EA3A-FE2D-4FBD-965D-A783AE9F8E82}"/>
              </a:ext>
            </a:extLst>
          </p:cNvPr>
          <p:cNvSpPr txBox="1"/>
          <p:nvPr/>
        </p:nvSpPr>
        <p:spPr>
          <a:xfrm>
            <a:off x="4611665" y="2203618"/>
            <a:ext cx="270113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000" dirty="0"/>
              <a:t>VLS &gt; 5000 h/a</a:t>
            </a:r>
            <a:endParaRPr lang="en-US" sz="10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643906E5-1922-4A60-B007-03F2F8341173}"/>
              </a:ext>
            </a:extLst>
          </p:cNvPr>
          <p:cNvSpPr txBox="1"/>
          <p:nvPr/>
        </p:nvSpPr>
        <p:spPr>
          <a:xfrm>
            <a:off x="1273510" y="2203618"/>
            <a:ext cx="270113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000" dirty="0"/>
              <a:t>VLS &lt;= 5000 h/a</a:t>
            </a:r>
            <a:endParaRPr lang="en-US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3EA93273-336A-4FF7-92D0-55D327EC2425}"/>
              </a:ext>
            </a:extLst>
          </p:cNvPr>
          <p:cNvSpPr txBox="1"/>
          <p:nvPr/>
        </p:nvSpPr>
        <p:spPr>
          <a:xfrm>
            <a:off x="1951178" y="4788181"/>
            <a:ext cx="132203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Anzahl EVSEs</a:t>
            </a:r>
            <a:endParaRPr lang="en-US" sz="14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945D5A3-8A3C-420F-B9B0-D4EC20F60729}"/>
              </a:ext>
            </a:extLst>
          </p:cNvPr>
          <p:cNvSpPr txBox="1"/>
          <p:nvPr/>
        </p:nvSpPr>
        <p:spPr>
          <a:xfrm>
            <a:off x="5328653" y="4788181"/>
            <a:ext cx="132203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Anzahl EVSEs</a:t>
            </a:r>
            <a:endParaRPr lang="en-US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C5581E1-4EA9-4A26-8BBB-1990C6A8894D}"/>
              </a:ext>
            </a:extLst>
          </p:cNvPr>
          <p:cNvSpPr txBox="1"/>
          <p:nvPr/>
        </p:nvSpPr>
        <p:spPr>
          <a:xfrm rot="16200000">
            <a:off x="-893106" y="3351310"/>
            <a:ext cx="3090722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Erlöse in €/EVSE/a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0615313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Übersicht verschiedener Netzentgelt Tarife</a:t>
            </a:r>
            <a:endParaRPr lang="en-US" sz="32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8</a:t>
            </a:fld>
            <a:endParaRPr lang="en-US">
              <a:solidFill>
                <a:schemeClr val="bg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5933584"/>
              </p:ext>
            </p:extLst>
          </p:nvPr>
        </p:nvGraphicFramePr>
        <p:xfrm>
          <a:off x="8097980" y="2368488"/>
          <a:ext cx="3900469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541">
                  <a:extLst>
                    <a:ext uri="{9D8B030D-6E8A-4147-A177-3AD203B41FA5}">
                      <a16:colId xmlns:a16="http://schemas.microsoft.com/office/drawing/2014/main" val="1603710729"/>
                    </a:ext>
                  </a:extLst>
                </a:gridCol>
                <a:gridCol w="1195591">
                  <a:extLst>
                    <a:ext uri="{9D8B030D-6E8A-4147-A177-3AD203B41FA5}">
                      <a16:colId xmlns:a16="http://schemas.microsoft.com/office/drawing/2014/main" val="2892715446"/>
                    </a:ext>
                  </a:extLst>
                </a:gridCol>
                <a:gridCol w="1228337">
                  <a:extLst>
                    <a:ext uri="{9D8B030D-6E8A-4147-A177-3AD203B41FA5}">
                      <a16:colId xmlns:a16="http://schemas.microsoft.com/office/drawing/2014/main" val="144601377"/>
                    </a:ext>
                  </a:extLst>
                </a:gridCol>
              </a:tblGrid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Mittlere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Netzentgelte</a:t>
                      </a:r>
                      <a:r>
                        <a:rPr lang="en-US" sz="1200" dirty="0"/>
                        <a:t> in 2011-2019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200" dirty="0"/>
                        <a:t>Volllaststunden ≥ 2500h</a:t>
                      </a:r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573487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Verteilnetzbetreiber</a:t>
                      </a:r>
                      <a:br>
                        <a:rPr lang="de-DE" sz="1200" b="1" dirty="0"/>
                      </a:br>
                      <a:r>
                        <a:rPr lang="de-DE" sz="1200" b="1" dirty="0"/>
                        <a:t>Mittelspannung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Leistungspreis in €/kW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/>
                        <a:t>Arbeitspreis in ct/kWh</a:t>
                      </a:r>
                      <a:endParaRPr lang="en-US" sz="12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6122849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Bayernwerk A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00,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716033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EWE Net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8,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,4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083030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Netze</a:t>
                      </a:r>
                      <a:r>
                        <a:rPr lang="en-US" sz="1200" dirty="0"/>
                        <a:t> B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73,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8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17315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WW Net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79,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,1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233686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F801E29-F1F0-4D29-909E-3D28F40EB583}"/>
              </a:ext>
            </a:extLst>
          </p:cNvPr>
          <p:cNvSpPr txBox="1"/>
          <p:nvPr/>
        </p:nvSpPr>
        <p:spPr>
          <a:xfrm>
            <a:off x="766762" y="6121990"/>
            <a:ext cx="1025416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solidFill>
                  <a:srgbClr val="356CA5"/>
                </a:solidFill>
                <a:latin typeface="+mj-lt"/>
              </a:rPr>
              <a:t>Stark steigende Leistungspreise bei Verteilnetzbetreibern in den letzten Jahren</a:t>
            </a:r>
            <a:endParaRPr lang="en-US" sz="2000" dirty="0">
              <a:solidFill>
                <a:srgbClr val="356CA5"/>
              </a:solidFill>
              <a:latin typeface="+mj-lt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E8B50BF-6C60-4D61-A0FA-CCD700D4D8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45" y="1494386"/>
            <a:ext cx="7141653" cy="4342432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58F15C8D-0829-4DB2-B7DC-A817307C264A}"/>
              </a:ext>
            </a:extLst>
          </p:cNvPr>
          <p:cNvSpPr txBox="1"/>
          <p:nvPr/>
        </p:nvSpPr>
        <p:spPr>
          <a:xfrm rot="16200000">
            <a:off x="-474329" y="3428139"/>
            <a:ext cx="2835082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Leistungspreis in €/kW</a:t>
            </a:r>
            <a:endParaRPr lang="en-US" sz="14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DFFFEBB-2503-4C72-BC00-432F73024722}"/>
              </a:ext>
            </a:extLst>
          </p:cNvPr>
          <p:cNvSpPr txBox="1"/>
          <p:nvPr/>
        </p:nvSpPr>
        <p:spPr>
          <a:xfrm>
            <a:off x="3969323" y="5587126"/>
            <a:ext cx="132203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Jah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244958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0D66B9A1-CA45-4EF6-A793-E128D4AC64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45" y="1494386"/>
            <a:ext cx="7104436" cy="43416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3200" b="1" dirty="0"/>
              <a:t>Übersicht verschiedener Netzentgelt Tarife</a:t>
            </a:r>
            <a:endParaRPr lang="en-US" sz="3200" b="1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330EA680-D336-4FF7-8B7A-9848BB0A1C32}" type="slidenum">
              <a:rPr lang="en-US" sz="1400" smtClean="0">
                <a:solidFill>
                  <a:schemeClr val="bg1"/>
                </a:solidFill>
              </a:rPr>
              <a:t>9</a:t>
            </a:fld>
            <a:endParaRPr lang="en-US">
              <a:solidFill>
                <a:schemeClr val="bg1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0606652"/>
              </p:ext>
            </p:extLst>
          </p:nvPr>
        </p:nvGraphicFramePr>
        <p:xfrm>
          <a:off x="8097980" y="2368488"/>
          <a:ext cx="3900469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541">
                  <a:extLst>
                    <a:ext uri="{9D8B030D-6E8A-4147-A177-3AD203B41FA5}">
                      <a16:colId xmlns:a16="http://schemas.microsoft.com/office/drawing/2014/main" val="1603710729"/>
                    </a:ext>
                  </a:extLst>
                </a:gridCol>
                <a:gridCol w="1195591">
                  <a:extLst>
                    <a:ext uri="{9D8B030D-6E8A-4147-A177-3AD203B41FA5}">
                      <a16:colId xmlns:a16="http://schemas.microsoft.com/office/drawing/2014/main" val="2892715446"/>
                    </a:ext>
                  </a:extLst>
                </a:gridCol>
                <a:gridCol w="1228337">
                  <a:extLst>
                    <a:ext uri="{9D8B030D-6E8A-4147-A177-3AD203B41FA5}">
                      <a16:colId xmlns:a16="http://schemas.microsoft.com/office/drawing/2014/main" val="144601377"/>
                    </a:ext>
                  </a:extLst>
                </a:gridCol>
              </a:tblGrid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Mittlere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Netzentgelte</a:t>
                      </a:r>
                      <a:r>
                        <a:rPr lang="en-US" sz="1200"/>
                        <a:t> in 2011-2019</a:t>
                      </a:r>
                      <a:endParaRPr lang="en-US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200" dirty="0"/>
                        <a:t>Volllaststunden ≥ 2500h</a:t>
                      </a:r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573487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Verteilnetzbetreiber</a:t>
                      </a:r>
                      <a:br>
                        <a:rPr lang="de-DE" sz="1200" b="1" dirty="0"/>
                      </a:br>
                      <a:r>
                        <a:rPr lang="de-DE" sz="1200" b="1" dirty="0"/>
                        <a:t>Mittelspannung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 dirty="0"/>
                        <a:t>Leistungspreis in €/kW</a:t>
                      </a: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/>
                        <a:t>Arbeitspreis in ct/kWh</a:t>
                      </a:r>
                      <a:endParaRPr lang="en-US" sz="12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6122849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Bayernwerk A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00,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5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716033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EWE Net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8,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,4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083030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err="1"/>
                        <a:t>Netze</a:t>
                      </a:r>
                      <a:r>
                        <a:rPr lang="en-US" sz="1200" dirty="0"/>
                        <a:t> B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73,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8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217315"/>
                  </a:ext>
                </a:extLst>
              </a:tr>
              <a:tr h="159871"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WW Net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79,4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,1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233686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F801E29-F1F0-4D29-909E-3D28F40EB583}"/>
              </a:ext>
            </a:extLst>
          </p:cNvPr>
          <p:cNvSpPr txBox="1"/>
          <p:nvPr/>
        </p:nvSpPr>
        <p:spPr>
          <a:xfrm>
            <a:off x="766762" y="6121990"/>
            <a:ext cx="1025416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solidFill>
                  <a:srgbClr val="356CA5"/>
                </a:solidFill>
                <a:latin typeface="+mj-lt"/>
              </a:rPr>
              <a:t>Arbeitspreise in letzten Jahren mit keiner klaren Tendenz</a:t>
            </a:r>
            <a:endParaRPr lang="en-US" sz="2000" dirty="0">
              <a:solidFill>
                <a:srgbClr val="356CA5"/>
              </a:solidFill>
              <a:latin typeface="+mj-lt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8F15C8D-0829-4DB2-B7DC-A817307C264A}"/>
              </a:ext>
            </a:extLst>
          </p:cNvPr>
          <p:cNvSpPr txBox="1"/>
          <p:nvPr/>
        </p:nvSpPr>
        <p:spPr>
          <a:xfrm rot="16200000">
            <a:off x="-474329" y="3428139"/>
            <a:ext cx="2835082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Arbeitspreis in €/kWh</a:t>
            </a:r>
            <a:endParaRPr lang="en-US" sz="14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DFFFEBB-2503-4C72-BC00-432F73024722}"/>
              </a:ext>
            </a:extLst>
          </p:cNvPr>
          <p:cNvSpPr txBox="1"/>
          <p:nvPr/>
        </p:nvSpPr>
        <p:spPr>
          <a:xfrm>
            <a:off x="3969323" y="5587126"/>
            <a:ext cx="132203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/>
              <a:t>Jah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03375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vY0BEW9KW3a8K7J3P2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xsAglmFVgFsDi1VG_X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itel">
  <a:themeElements>
    <a:clrScheme name="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AB2626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Präsentation2" id="{7B0F0433-13FB-436D-8245-F036D85AEA86}" vid="{69EFEBE8-1712-4703-A364-1AB6B6CF8812}"/>
    </a:ext>
  </a:extLst>
</a:theme>
</file>

<file path=ppt/theme/theme2.xml><?xml version="1.0" encoding="utf-8"?>
<a:theme xmlns:a="http://schemas.openxmlformats.org/drawingml/2006/main" name="2_Inhalte_Standard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Präsentation2" id="{7B0F0433-13FB-436D-8245-F036D85AEA86}" vid="{D0D7DA4D-E026-4BD4-B803-74E4F45543F0}"/>
    </a:ext>
  </a:extLst>
</a:theme>
</file>

<file path=ppt/theme/theme3.xml><?xml version="1.0" encoding="utf-8"?>
<a:theme xmlns:a="http://schemas.openxmlformats.org/drawingml/2006/main" name="3_Kapiteltrenner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Präsentation2" id="{7B0F0433-13FB-436D-8245-F036D85AEA86}" vid="{38B4B4AA-0CB2-409C-BBD7-205755784156}"/>
    </a:ext>
  </a:extLst>
</a:theme>
</file>

<file path=ppt/theme/theme4.xml><?xml version="1.0" encoding="utf-8"?>
<a:theme xmlns:a="http://schemas.openxmlformats.org/drawingml/2006/main" name="4_Grosses_Seitenelement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Präsentation2" id="{7B0F0433-13FB-436D-8245-F036D85AEA86}" vid="{B5B5ADB3-7D04-4587-84E2-B7E5EE879200}"/>
    </a:ext>
  </a:extLst>
</a:theme>
</file>

<file path=ppt/theme/theme5.xml><?xml version="1.0" encoding="utf-8"?>
<a:theme xmlns:a="http://schemas.openxmlformats.org/drawingml/2006/main" name="5_Grosses_Seitenelement">
  <a:themeElements>
    <a:clrScheme name="Farbwahl_FF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56CA5"/>
      </a:accent1>
      <a:accent2>
        <a:srgbClr val="F7D507"/>
      </a:accent2>
      <a:accent3>
        <a:srgbClr val="8AB5E1"/>
      </a:accent3>
      <a:accent4>
        <a:srgbClr val="B42E2E"/>
      </a:accent4>
      <a:accent5>
        <a:srgbClr val="1F4E79"/>
      </a:accent5>
      <a:accent6>
        <a:srgbClr val="EC9302"/>
      </a:accent6>
      <a:hlink>
        <a:srgbClr val="0563C1"/>
      </a:hlink>
      <a:folHlink>
        <a:srgbClr val="954F72"/>
      </a:folHlink>
    </a:clrScheme>
    <a:fontScheme name="Semilight">
      <a:majorFont>
        <a:latin typeface="Segoe UI Semilight"/>
        <a:ea typeface=""/>
        <a:cs typeface=""/>
      </a:majorFont>
      <a:minorFont>
        <a:latin typeface="Segoe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Präsentation2" id="{7B0F0433-13FB-436D-8245-F036D85AEA86}" vid="{B5B5ADB3-7D04-4587-84E2-B7E5EE879200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tandardfarbpalette 1">
      <a:srgbClr val="356CA5"/>
    </a:custClr>
    <a:custClr name="Standardfarbpalette 2">
      <a:srgbClr val="F7D507"/>
    </a:custClr>
    <a:custClr name="Standardfarbpalette 3">
      <a:srgbClr val="8AB5E1"/>
    </a:custClr>
    <a:custClr name="Standardfarbpalette 4">
      <a:srgbClr val="AB2626"/>
    </a:custClr>
    <a:custClr name="Standardfarbpalette 5">
      <a:srgbClr val="1F4E79"/>
    </a:custClr>
    <a:custClr name="Standardfarbpalette 6">
      <a:srgbClr val="EC9302"/>
    </a:custClr>
    <a:custClr name="Standardfarbpalette 7">
      <a:srgbClr val="7A1C1C"/>
    </a:custClr>
    <a:custClr name="blank">
      <a:srgbClr val="FFFFFF"/>
    </a:custClr>
    <a:custClr name="blank">
      <a:srgbClr val="FFFFFF"/>
    </a:custClr>
    <a:custClr name="blank">
      <a:srgbClr val="FFFFFF"/>
    </a:custClr>
    <a:custClr name="1A">
      <a:srgbClr val="1F4E79"/>
    </a:custClr>
    <a:custClr name="1B">
      <a:srgbClr val="356CA5"/>
    </a:custClr>
    <a:custClr name="1C">
      <a:srgbClr val="3795D5"/>
    </a:custClr>
    <a:custClr name="1D">
      <a:srgbClr val="8AB5E1"/>
    </a:custClr>
    <a:custClr name="1E">
      <a:srgbClr val="D7E6F5"/>
    </a:custClr>
    <a:custClr name="2A">
      <a:srgbClr val="7E6D04"/>
    </a:custClr>
    <a:custClr name="2B">
      <a:srgbClr val="BFA405"/>
    </a:custClr>
    <a:custClr name="2C">
      <a:srgbClr val="F7D507"/>
    </a:custClr>
    <a:custClr name="2D">
      <a:srgbClr val="FBE875"/>
    </a:custClr>
    <a:custClr name="2E">
      <a:srgbClr val="FEF2B0"/>
    </a:custClr>
    <a:custClr name="3A">
      <a:srgbClr val="7A1C1C"/>
    </a:custClr>
    <a:custClr name="3B">
      <a:srgbClr val="AB2626"/>
    </a:custClr>
    <a:custClr name="3C">
      <a:srgbClr val="DD2525"/>
    </a:custClr>
    <a:custClr name="3D">
      <a:srgbClr val="EB8585"/>
    </a:custClr>
    <a:custClr name="3E">
      <a:srgbClr val="F5D7D7"/>
    </a:custClr>
    <a:custClr name="4A">
      <a:srgbClr val="794B01"/>
    </a:custClr>
    <a:custClr name="4B">
      <a:srgbClr val="B77201"/>
    </a:custClr>
    <a:custClr name="4C">
      <a:srgbClr val="EC9302"/>
    </a:custClr>
    <a:custClr name="4D">
      <a:srgbClr val="FEC05C"/>
    </a:custClr>
    <a:custClr name="4E">
      <a:srgbClr val="FEE2B4"/>
    </a:custClr>
    <a:custClr name="5A">
      <a:srgbClr val="41641A"/>
    </a:custClr>
    <a:custClr name="5B">
      <a:srgbClr val="639729"/>
    </a:custClr>
    <a:custClr name="5C">
      <a:srgbClr val="92D050"/>
    </a:custClr>
    <a:custClr name="5D">
      <a:srgbClr val="B9E38A"/>
    </a:custClr>
    <a:custClr name="5E">
      <a:srgbClr val="D8EFBF"/>
    </a:custClr>
    <a:custClr name="0A">
      <a:srgbClr val="515151"/>
    </a:custClr>
    <a:custClr name="0B">
      <a:srgbClr val="777777"/>
    </a:custClr>
    <a:custClr name="0C">
      <a:srgbClr val="A3A3A3"/>
    </a:custClr>
    <a:custClr name="0D">
      <a:srgbClr val="C4C4C4"/>
    </a:custClr>
    <a:custClr name="0E">
      <a:srgbClr val="E0E0E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37536329F879D4093F7154B2A8B46AF" ma:contentTypeVersion="13" ma:contentTypeDescription="Ein neues Dokument erstellen." ma:contentTypeScope="" ma:versionID="c6dc21652f2a87cc1d98d3c7d1a15c1b">
  <xsd:schema xmlns:xsd="http://www.w3.org/2001/XMLSchema" xmlns:xs="http://www.w3.org/2001/XMLSchema" xmlns:p="http://schemas.microsoft.com/office/2006/metadata/properties" xmlns:ns2="a4726893-8b56-4f89-a1e8-8f6b3968ba4a" xmlns:ns3="490e245a-8691-4bb1-9988-a0a95cdc11c0" targetNamespace="http://schemas.microsoft.com/office/2006/metadata/properties" ma:root="true" ma:fieldsID="45b7adc3ec7ed38dafca5f56f35c7628" ns2:_="" ns3:_="">
    <xsd:import namespace="a4726893-8b56-4f89-a1e8-8f6b3968ba4a"/>
    <xsd:import namespace="490e245a-8691-4bb1-9988-a0a95cdc11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726893-8b56-4f89-a1e8-8f6b3968ba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0e245a-8691-4bb1-9988-a0a95cdc11c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FE21E5-0B82-406E-95C7-711C3DB249A1}">
  <ds:schemaRefs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dcmitype/"/>
    <ds:schemaRef ds:uri="a4726893-8b56-4f89-a1e8-8f6b3968ba4a"/>
    <ds:schemaRef ds:uri="http://purl.org/dc/elements/1.1/"/>
    <ds:schemaRef ds:uri="http://schemas.openxmlformats.org/package/2006/metadata/core-properties"/>
    <ds:schemaRef ds:uri="490e245a-8691-4bb1-9988-a0a95cdc11c0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134EC56B-938D-4B1B-8C1A-D27625DE84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726893-8b56-4f89-a1e8-8f6b3968ba4a"/>
    <ds:schemaRef ds:uri="490e245a-8691-4bb1-9988-a0a95cdc11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9E190E1-DF95-418B-949F-D9806746542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0_Powerpoint_Master_FfE_16x9</Template>
  <TotalTime>0</TotalTime>
  <Words>1188</Words>
  <Application>Microsoft Office PowerPoint</Application>
  <PresentationFormat>Breitbild</PresentationFormat>
  <Paragraphs>239</Paragraphs>
  <Slides>14</Slides>
  <Notes>10</Notes>
  <HiddenSlides>3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8" baseType="lpstr">
      <vt:lpstr>Arial</vt:lpstr>
      <vt:lpstr>BMW Group Condensed</vt:lpstr>
      <vt:lpstr>Cambria Math</vt:lpstr>
      <vt:lpstr>Courier New</vt:lpstr>
      <vt:lpstr>Futura Lt BT</vt:lpstr>
      <vt:lpstr>Segoe UI Semilight</vt:lpstr>
      <vt:lpstr>Symbol</vt:lpstr>
      <vt:lpstr>Wingdings</vt:lpstr>
      <vt:lpstr>1_Titel</vt:lpstr>
      <vt:lpstr>2_Inhalte_Standard</vt:lpstr>
      <vt:lpstr>3_Kapiteltrenner</vt:lpstr>
      <vt:lpstr>4_Grosses_Seitenelement</vt:lpstr>
      <vt:lpstr>5_Grosses_Seitenelement</vt:lpstr>
      <vt:lpstr>think-cell Folie</vt:lpstr>
      <vt:lpstr>PowerPoint-Präsentation</vt:lpstr>
      <vt:lpstr>Bidirektionales Lademanagement –  BDL Elektrofahrzeuge stützen das Stromnetz </vt:lpstr>
      <vt:lpstr>Motivation</vt:lpstr>
      <vt:lpstr>Inputdaten und Szenariobeschreibung</vt:lpstr>
      <vt:lpstr>Lineares Optimierungsmodell</vt:lpstr>
      <vt:lpstr>Erlöspotenziale unterteilt nach Spitzenlast</vt:lpstr>
      <vt:lpstr>Erlöspotenziale unterteilt nach Spitzenlast  und Volllaststunden des Lastgangs</vt:lpstr>
      <vt:lpstr>Übersicht verschiedener Netzentgelt Tarife</vt:lpstr>
      <vt:lpstr>Übersicht verschiedener Netzentgelt Tarife</vt:lpstr>
      <vt:lpstr>Auswirkung verschiedener Netzentgelttarife  auf Erlöspotenziale bidirektionaler EVSEs</vt:lpstr>
      <vt:lpstr>Amortisationszeiten</vt:lpstr>
      <vt:lpstr>Gewinn über 15 Jahre Lebenszeit</vt:lpstr>
      <vt:lpstr>Zusammenfassung und kritische Einordnung</vt:lpstr>
      <vt:lpstr>PowerPoint-Präsentation</vt:lpstr>
    </vt:vector>
  </TitlesOfParts>
  <Company>FFE e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rian Ostermann</dc:creator>
  <cp:lastModifiedBy>Timo Kern</cp:lastModifiedBy>
  <cp:revision>10</cp:revision>
  <dcterms:created xsi:type="dcterms:W3CDTF">2020-12-09T15:06:43Z</dcterms:created>
  <dcterms:modified xsi:type="dcterms:W3CDTF">2021-09-07T19:3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7536329F879D4093F7154B2A8B46AF</vt:lpwstr>
  </property>
</Properties>
</file>